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lb" ContentType="model/gltf.binary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12"/>
  </p:notesMasterIdLst>
  <p:sldIdLst>
    <p:sldId id="562" r:id="rId2"/>
    <p:sldId id="564" r:id="rId3"/>
    <p:sldId id="563" r:id="rId4"/>
    <p:sldId id="569" r:id="rId5"/>
    <p:sldId id="560" r:id="rId6"/>
    <p:sldId id="566" r:id="rId7"/>
    <p:sldId id="568" r:id="rId8"/>
    <p:sldId id="570" r:id="rId9"/>
    <p:sldId id="561" r:id="rId10"/>
    <p:sldId id="565" r:id="rId11"/>
  </p:sldIdLst>
  <p:sldSz cx="12192000" cy="6858000"/>
  <p:notesSz cx="6794500" cy="9906000"/>
  <p:custDataLst>
    <p:tags r:id="rId1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4362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Сапрыкина Наталья Валерьевна" initials="СНВ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2595"/>
    <a:srgbClr val="FF9966"/>
    <a:srgbClr val="5A5A5A"/>
    <a:srgbClr val="FFEB9C"/>
    <a:srgbClr val="C6EFCE"/>
    <a:srgbClr val="9C6500"/>
    <a:srgbClr val="FFC7CE"/>
    <a:srgbClr val="FF6600"/>
    <a:srgbClr val="FF9900"/>
    <a:srgbClr val="FF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857" autoAdjust="0"/>
    <p:restoredTop sz="87258" autoAdjust="0"/>
  </p:normalViewPr>
  <p:slideViewPr>
    <p:cSldViewPr snapToGrid="0" showGuides="1">
      <p:cViewPr varScale="1">
        <p:scale>
          <a:sx n="134" d="100"/>
          <a:sy n="134" d="100"/>
        </p:scale>
        <p:origin x="920" y="184"/>
      </p:cViewPr>
      <p:guideLst>
        <p:guide pos="4362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4" d="100"/>
          <a:sy n="64" d="100"/>
        </p:scale>
        <p:origin x="-3444" y="-120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4" cy="497020"/>
          </a:xfrm>
          <a:prstGeom prst="rect">
            <a:avLst/>
          </a:prstGeom>
        </p:spPr>
        <p:txBody>
          <a:bodyPr vert="horz" lIns="91285" tIns="45642" rIns="91285" bIns="45642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4" cy="497020"/>
          </a:xfrm>
          <a:prstGeom prst="rect">
            <a:avLst/>
          </a:prstGeom>
        </p:spPr>
        <p:txBody>
          <a:bodyPr vert="horz" lIns="91285" tIns="45642" rIns="91285" bIns="45642" rtlCol="0"/>
          <a:lstStyle>
            <a:lvl1pPr algn="r">
              <a:defRPr sz="1200"/>
            </a:lvl1pPr>
          </a:lstStyle>
          <a:p>
            <a:fld id="{48025B9C-09F7-4190-9B9D-CA10648EB8C7}" type="datetimeFigureOut">
              <a:rPr lang="ru-RU" smtClean="0"/>
              <a:t>06.04.202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38250"/>
            <a:ext cx="5946775" cy="3344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85" tIns="45642" rIns="91285" bIns="45642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67263"/>
            <a:ext cx="5435600" cy="3900487"/>
          </a:xfrm>
          <a:prstGeom prst="rect">
            <a:avLst/>
          </a:prstGeom>
        </p:spPr>
        <p:txBody>
          <a:bodyPr vert="horz" lIns="91285" tIns="45642" rIns="91285" bIns="4564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08982"/>
            <a:ext cx="2944284" cy="497019"/>
          </a:xfrm>
          <a:prstGeom prst="rect">
            <a:avLst/>
          </a:prstGeom>
        </p:spPr>
        <p:txBody>
          <a:bodyPr vert="horz" lIns="91285" tIns="45642" rIns="91285" bIns="45642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44" y="9408982"/>
            <a:ext cx="2944284" cy="497019"/>
          </a:xfrm>
          <a:prstGeom prst="rect">
            <a:avLst/>
          </a:prstGeom>
        </p:spPr>
        <p:txBody>
          <a:bodyPr vert="horz" lIns="91285" tIns="45642" rIns="91285" bIns="45642" rtlCol="0" anchor="b"/>
          <a:lstStyle>
            <a:lvl1pPr algn="r">
              <a:defRPr sz="1200"/>
            </a:lvl1pPr>
          </a:lstStyle>
          <a:p>
            <a:fld id="{BA8177C7-D53E-4447-8A32-BCC5D2B76ED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17511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8177C7-D53E-4447-8A32-BCC5D2B76ED4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65105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8177C7-D53E-4447-8A32-BCC5D2B76ED4}" type="slidenum">
              <a:rPr lang="ru-RU" smtClean="0"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60202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8177C7-D53E-4447-8A32-BCC5D2B76ED4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01626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8177C7-D53E-4447-8A32-BCC5D2B76ED4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64164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8177C7-D53E-4447-8A32-BCC5D2B76ED4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93302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8177C7-D53E-4447-8A32-BCC5D2B76ED4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131454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8177C7-D53E-4447-8A32-BCC5D2B76ED4}" type="slidenum">
              <a:rPr lang="ru-RU" smtClean="0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051266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8177C7-D53E-4447-8A32-BCC5D2B76ED4}" type="slidenum">
              <a:rPr lang="ru-RU" smtClean="0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61223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err="1"/>
              <a:t>Проверли</a:t>
            </a:r>
            <a:r>
              <a:rPr lang="ru-RU" dirty="0"/>
              <a:t> анализ на коленке – точность предсказания (</a:t>
            </a:r>
            <a:r>
              <a:rPr lang="en-US" dirty="0"/>
              <a:t>R2 = </a:t>
            </a:r>
            <a:r>
              <a:rPr lang="ru-RU" dirty="0"/>
              <a:t>0,77, т.е. хорошая точность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8177C7-D53E-4447-8A32-BCC5D2B76ED4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249994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8177C7-D53E-4447-8A32-BCC5D2B76ED4}" type="slidenum">
              <a:rPr lang="ru-RU" smtClean="0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75246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http://8721D3235FA5C08D39145DAC7869F518.dms.sberbank.ru/8721D3235FA5C08D39145DAC7869F518-1D3F95CAA32F21C3F58E5FCDD9A7D6C8-712D3A87BB30A3719D213FAF67F88E50/1.png" TargetMode="Externa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54DF-5B35-4496-97D5-F1D5438EF4DB}" type="datetimeFigureOut">
              <a:rPr lang="ru-RU" smtClean="0"/>
              <a:t>06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A017F-ABDB-4A4D-82BE-F6A3BB8B66E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6217639"/>
      </p:ext>
    </p:extLst>
  </p:cSld>
  <p:clrMapOvr>
    <a:masterClrMapping/>
  </p:clrMapOvr>
  <p:transition spd="slow">
    <p:cut/>
  </p:transition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54DF-5B35-4496-97D5-F1D5438EF4DB}" type="datetimeFigureOut">
              <a:rPr lang="ru-RU" smtClean="0"/>
              <a:t>06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A017F-ABDB-4A4D-82BE-F6A3BB8B66E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8470500"/>
      </p:ext>
    </p:extLst>
  </p:cSld>
  <p:clrMapOvr>
    <a:masterClrMapping/>
  </p:clrMapOvr>
  <p:transition spd="slow">
    <p:cut/>
  </p:transition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54DF-5B35-4496-97D5-F1D5438EF4DB}" type="datetimeFigureOut">
              <a:rPr lang="ru-RU" smtClean="0"/>
              <a:t>06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A017F-ABDB-4A4D-82BE-F6A3BB8B66E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5797364"/>
      </p:ext>
    </p:extLst>
  </p:cSld>
  <p:clrMapOvr>
    <a:masterClrMapping/>
  </p:clrMapOvr>
  <p:transition spd="slow">
    <p:cut/>
  </p:transition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л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9105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Объект 4"/>
          <p:cNvSpPr>
            <a:spLocks noGrp="1"/>
          </p:cNvSpPr>
          <p:nvPr>
            <p:ph sz="quarter" idx="13"/>
          </p:nvPr>
        </p:nvSpPr>
        <p:spPr>
          <a:xfrm>
            <a:off x="407989" y="1074906"/>
            <a:ext cx="11376024" cy="516304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EDA017F-ABDB-4A4D-82BE-F6A3BB8B66EF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15" name="Рисунок 14" descr="http://8721D3235FA5C08D39145DAC7869F518.dms.sberbank.ru/8721D3235FA5C08D39145DAC7869F518-1D3F95CAA32F21C3F58E5FCDD9A7D6C8-712D3A87BB30A3719D213FAF67F88E50/1.png"/>
          <p:cNvPicPr>
            <a:picLocks/>
          </p:cNvPicPr>
          <p:nvPr userDrawn="1"/>
        </p:nvPicPr>
        <p:blipFill>
          <a:blip r:link="rId5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6" name="Рисунок 15" descr="http://8721D3235FA5C08D39145DAC7869F518.dms.sberbank.ru/8721D3235FA5C08D39145DAC7869F518-1D3F95CAA32F21C3F58E5FCDD9A7D6C8-712D3A87BB30A3719D213FAF67F88E50/1.png"/>
          <p:cNvPicPr>
            <a:picLocks/>
          </p:cNvPicPr>
          <p:nvPr userDrawn="1"/>
        </p:nvPicPr>
        <p:blipFill>
          <a:blip r:link="rId5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146991"/>
      </p:ext>
    </p:extLst>
  </p:cSld>
  <p:clrMapOvr>
    <a:masterClrMapping/>
  </p:clrMapOvr>
  <p:transition spd="slow">
    <p:cut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">
    <p:bg>
      <p:bgPr>
        <a:gradFill>
          <a:gsLst>
            <a:gs pos="100000">
              <a:schemeClr val="bg1"/>
            </a:gs>
            <a:gs pos="57000">
              <a:schemeClr val="bg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Прямоугольный треугольник 82"/>
          <p:cNvSpPr/>
          <p:nvPr userDrawn="1"/>
        </p:nvSpPr>
        <p:spPr>
          <a:xfrm rot="16200000">
            <a:off x="3569803" y="1961969"/>
            <a:ext cx="2303815" cy="3752603"/>
          </a:xfrm>
          <a:custGeom>
            <a:avLst/>
            <a:gdLst>
              <a:gd name="connsiteX0" fmla="*/ 0 w 961901"/>
              <a:gd name="connsiteY0" fmla="*/ 3016332 h 3016332"/>
              <a:gd name="connsiteX1" fmla="*/ 0 w 961901"/>
              <a:gd name="connsiteY1" fmla="*/ 0 h 3016332"/>
              <a:gd name="connsiteX2" fmla="*/ 961901 w 961901"/>
              <a:gd name="connsiteY2" fmla="*/ 3016332 h 3016332"/>
              <a:gd name="connsiteX3" fmla="*/ 0 w 961901"/>
              <a:gd name="connsiteY3" fmla="*/ 3016332 h 3016332"/>
              <a:gd name="connsiteX0" fmla="*/ 0 w 498763"/>
              <a:gd name="connsiteY0" fmla="*/ 3016332 h 3016332"/>
              <a:gd name="connsiteX1" fmla="*/ 0 w 498763"/>
              <a:gd name="connsiteY1" fmla="*/ 0 h 3016332"/>
              <a:gd name="connsiteX2" fmla="*/ 498763 w 498763"/>
              <a:gd name="connsiteY2" fmla="*/ 605638 h 3016332"/>
              <a:gd name="connsiteX3" fmla="*/ 0 w 498763"/>
              <a:gd name="connsiteY3" fmla="*/ 3016332 h 3016332"/>
              <a:gd name="connsiteX0" fmla="*/ 0 w 570018"/>
              <a:gd name="connsiteY0" fmla="*/ 3016332 h 3016332"/>
              <a:gd name="connsiteX1" fmla="*/ 0 w 570018"/>
              <a:gd name="connsiteY1" fmla="*/ 0 h 3016332"/>
              <a:gd name="connsiteX2" fmla="*/ 570018 w 570018"/>
              <a:gd name="connsiteY2" fmla="*/ 973771 h 3016332"/>
              <a:gd name="connsiteX3" fmla="*/ 0 w 570018"/>
              <a:gd name="connsiteY3" fmla="*/ 3016332 h 3016332"/>
              <a:gd name="connsiteX0" fmla="*/ 1033153 w 1603171"/>
              <a:gd name="connsiteY0" fmla="*/ 3025908 h 3025908"/>
              <a:gd name="connsiteX1" fmla="*/ 0 w 1603171"/>
              <a:gd name="connsiteY1" fmla="*/ 0 h 3025908"/>
              <a:gd name="connsiteX2" fmla="*/ 1603171 w 1603171"/>
              <a:gd name="connsiteY2" fmla="*/ 983347 h 3025908"/>
              <a:gd name="connsiteX3" fmla="*/ 1033153 w 1603171"/>
              <a:gd name="connsiteY3" fmla="*/ 3025908 h 3025908"/>
              <a:gd name="connsiteX0" fmla="*/ 1033153 w 2101935"/>
              <a:gd name="connsiteY0" fmla="*/ 3025908 h 3025908"/>
              <a:gd name="connsiteX1" fmla="*/ 0 w 2101935"/>
              <a:gd name="connsiteY1" fmla="*/ 0 h 3025908"/>
              <a:gd name="connsiteX2" fmla="*/ 2101935 w 2101935"/>
              <a:gd name="connsiteY2" fmla="*/ 715228 h 3025908"/>
              <a:gd name="connsiteX3" fmla="*/ 1033153 w 2101935"/>
              <a:gd name="connsiteY3" fmla="*/ 3025908 h 3025908"/>
              <a:gd name="connsiteX0" fmla="*/ 1033153 w 2303815"/>
              <a:gd name="connsiteY0" fmla="*/ 3025908 h 3025908"/>
              <a:gd name="connsiteX1" fmla="*/ 0 w 2303815"/>
              <a:gd name="connsiteY1" fmla="*/ 0 h 3025908"/>
              <a:gd name="connsiteX2" fmla="*/ 2303815 w 2303815"/>
              <a:gd name="connsiteY2" fmla="*/ 657775 h 3025908"/>
              <a:gd name="connsiteX3" fmla="*/ 1033153 w 2303815"/>
              <a:gd name="connsiteY3" fmla="*/ 3025908 h 3025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03815" h="3025908">
                <a:moveTo>
                  <a:pt x="1033153" y="3025908"/>
                </a:moveTo>
                <a:lnTo>
                  <a:pt x="0" y="0"/>
                </a:lnTo>
                <a:lnTo>
                  <a:pt x="2303815" y="657775"/>
                </a:lnTo>
                <a:lnTo>
                  <a:pt x="1033153" y="3025908"/>
                </a:lnTo>
                <a:close/>
              </a:path>
            </a:pathLst>
          </a:custGeom>
          <a:solidFill>
            <a:schemeClr val="bg1"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dirty="0"/>
          </a:p>
        </p:txBody>
      </p:sp>
      <p:sp>
        <p:nvSpPr>
          <p:cNvPr id="85" name="Прямоугольный треугольник 82"/>
          <p:cNvSpPr/>
          <p:nvPr userDrawn="1"/>
        </p:nvSpPr>
        <p:spPr>
          <a:xfrm rot="16200000">
            <a:off x="1323540" y="2652565"/>
            <a:ext cx="2303815" cy="2371412"/>
          </a:xfrm>
          <a:custGeom>
            <a:avLst/>
            <a:gdLst>
              <a:gd name="connsiteX0" fmla="*/ 0 w 961901"/>
              <a:gd name="connsiteY0" fmla="*/ 3016332 h 3016332"/>
              <a:gd name="connsiteX1" fmla="*/ 0 w 961901"/>
              <a:gd name="connsiteY1" fmla="*/ 0 h 3016332"/>
              <a:gd name="connsiteX2" fmla="*/ 961901 w 961901"/>
              <a:gd name="connsiteY2" fmla="*/ 3016332 h 3016332"/>
              <a:gd name="connsiteX3" fmla="*/ 0 w 961901"/>
              <a:gd name="connsiteY3" fmla="*/ 3016332 h 3016332"/>
              <a:gd name="connsiteX0" fmla="*/ 0 w 498763"/>
              <a:gd name="connsiteY0" fmla="*/ 3016332 h 3016332"/>
              <a:gd name="connsiteX1" fmla="*/ 0 w 498763"/>
              <a:gd name="connsiteY1" fmla="*/ 0 h 3016332"/>
              <a:gd name="connsiteX2" fmla="*/ 498763 w 498763"/>
              <a:gd name="connsiteY2" fmla="*/ 605638 h 3016332"/>
              <a:gd name="connsiteX3" fmla="*/ 0 w 498763"/>
              <a:gd name="connsiteY3" fmla="*/ 3016332 h 3016332"/>
              <a:gd name="connsiteX0" fmla="*/ 0 w 570018"/>
              <a:gd name="connsiteY0" fmla="*/ 3016332 h 3016332"/>
              <a:gd name="connsiteX1" fmla="*/ 0 w 570018"/>
              <a:gd name="connsiteY1" fmla="*/ 0 h 3016332"/>
              <a:gd name="connsiteX2" fmla="*/ 570018 w 570018"/>
              <a:gd name="connsiteY2" fmla="*/ 973771 h 3016332"/>
              <a:gd name="connsiteX3" fmla="*/ 0 w 570018"/>
              <a:gd name="connsiteY3" fmla="*/ 3016332 h 3016332"/>
              <a:gd name="connsiteX0" fmla="*/ 1033153 w 1603171"/>
              <a:gd name="connsiteY0" fmla="*/ 3025908 h 3025908"/>
              <a:gd name="connsiteX1" fmla="*/ 0 w 1603171"/>
              <a:gd name="connsiteY1" fmla="*/ 0 h 3025908"/>
              <a:gd name="connsiteX2" fmla="*/ 1603171 w 1603171"/>
              <a:gd name="connsiteY2" fmla="*/ 983347 h 3025908"/>
              <a:gd name="connsiteX3" fmla="*/ 1033153 w 1603171"/>
              <a:gd name="connsiteY3" fmla="*/ 3025908 h 3025908"/>
              <a:gd name="connsiteX0" fmla="*/ 1033153 w 2101935"/>
              <a:gd name="connsiteY0" fmla="*/ 3025908 h 3025908"/>
              <a:gd name="connsiteX1" fmla="*/ 0 w 2101935"/>
              <a:gd name="connsiteY1" fmla="*/ 0 h 3025908"/>
              <a:gd name="connsiteX2" fmla="*/ 2101935 w 2101935"/>
              <a:gd name="connsiteY2" fmla="*/ 715228 h 3025908"/>
              <a:gd name="connsiteX3" fmla="*/ 1033153 w 2101935"/>
              <a:gd name="connsiteY3" fmla="*/ 3025908 h 3025908"/>
              <a:gd name="connsiteX0" fmla="*/ 1033153 w 2303815"/>
              <a:gd name="connsiteY0" fmla="*/ 3025908 h 3025908"/>
              <a:gd name="connsiteX1" fmla="*/ 0 w 2303815"/>
              <a:gd name="connsiteY1" fmla="*/ 0 h 3025908"/>
              <a:gd name="connsiteX2" fmla="*/ 2303815 w 2303815"/>
              <a:gd name="connsiteY2" fmla="*/ 657775 h 3025908"/>
              <a:gd name="connsiteX3" fmla="*/ 1033153 w 2303815"/>
              <a:gd name="connsiteY3" fmla="*/ 3025908 h 3025908"/>
              <a:gd name="connsiteX0" fmla="*/ 1733797 w 2303815"/>
              <a:gd name="connsiteY0" fmla="*/ 0 h 1912186"/>
              <a:gd name="connsiteX1" fmla="*/ 0 w 2303815"/>
              <a:gd name="connsiteY1" fmla="*/ 1254411 h 1912186"/>
              <a:gd name="connsiteX2" fmla="*/ 2303815 w 2303815"/>
              <a:gd name="connsiteY2" fmla="*/ 1912186 h 1912186"/>
              <a:gd name="connsiteX3" fmla="*/ 1733797 w 2303815"/>
              <a:gd name="connsiteY3" fmla="*/ 0 h 1912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03815" h="1912186">
                <a:moveTo>
                  <a:pt x="1733797" y="0"/>
                </a:moveTo>
                <a:lnTo>
                  <a:pt x="0" y="1254411"/>
                </a:lnTo>
                <a:lnTo>
                  <a:pt x="2303815" y="1912186"/>
                </a:lnTo>
                <a:lnTo>
                  <a:pt x="173379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dirty="0"/>
          </a:p>
        </p:txBody>
      </p:sp>
      <p:sp>
        <p:nvSpPr>
          <p:cNvPr id="7" name="Полилиния 6"/>
          <p:cNvSpPr/>
          <p:nvPr/>
        </p:nvSpPr>
        <p:spPr>
          <a:xfrm flipH="1" flipV="1">
            <a:off x="8929191" y="0"/>
            <a:ext cx="2155306" cy="1502624"/>
          </a:xfrm>
          <a:custGeom>
            <a:avLst/>
            <a:gdLst>
              <a:gd name="connsiteX0" fmla="*/ 2155306 w 2155306"/>
              <a:gd name="connsiteY0" fmla="*/ 1502624 h 1502624"/>
              <a:gd name="connsiteX1" fmla="*/ 2154902 w 2155306"/>
              <a:gd name="connsiteY1" fmla="*/ 1502624 h 1502624"/>
              <a:gd name="connsiteX2" fmla="*/ 0 w 2155306"/>
              <a:gd name="connsiteY2" fmla="*/ 0 h 1502624"/>
              <a:gd name="connsiteX3" fmla="*/ 2155306 w 2155306"/>
              <a:gd name="connsiteY3" fmla="*/ 1502624 h 1502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55306" h="1502624">
                <a:moveTo>
                  <a:pt x="2155306" y="1502624"/>
                </a:moveTo>
                <a:lnTo>
                  <a:pt x="2154902" y="1502624"/>
                </a:lnTo>
                <a:lnTo>
                  <a:pt x="0" y="0"/>
                </a:lnTo>
                <a:lnTo>
                  <a:pt x="2155306" y="150262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Полилиния 7"/>
          <p:cNvSpPr/>
          <p:nvPr/>
        </p:nvSpPr>
        <p:spPr>
          <a:xfrm flipH="1" flipV="1">
            <a:off x="11084498" y="1502624"/>
            <a:ext cx="10661" cy="7434"/>
          </a:xfrm>
          <a:custGeom>
            <a:avLst/>
            <a:gdLst>
              <a:gd name="connsiteX0" fmla="*/ 10661 w 10661"/>
              <a:gd name="connsiteY0" fmla="*/ 7434 h 7434"/>
              <a:gd name="connsiteX1" fmla="*/ 0 w 10661"/>
              <a:gd name="connsiteY1" fmla="*/ 2 h 7434"/>
              <a:gd name="connsiteX2" fmla="*/ 0 w 10661"/>
              <a:gd name="connsiteY2" fmla="*/ 0 h 7434"/>
              <a:gd name="connsiteX3" fmla="*/ 10661 w 10661"/>
              <a:gd name="connsiteY3" fmla="*/ 7434 h 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61" h="7434">
                <a:moveTo>
                  <a:pt x="10661" y="7434"/>
                </a:moveTo>
                <a:lnTo>
                  <a:pt x="0" y="2"/>
                </a:lnTo>
                <a:lnTo>
                  <a:pt x="0" y="0"/>
                </a:lnTo>
                <a:lnTo>
                  <a:pt x="10661" y="743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олилиния 8"/>
          <p:cNvSpPr/>
          <p:nvPr/>
        </p:nvSpPr>
        <p:spPr>
          <a:xfrm flipH="1" flipV="1">
            <a:off x="10867815" y="2552026"/>
            <a:ext cx="604390" cy="1594589"/>
          </a:xfrm>
          <a:custGeom>
            <a:avLst/>
            <a:gdLst>
              <a:gd name="connsiteX0" fmla="*/ 1 w 604390"/>
              <a:gd name="connsiteY0" fmla="*/ 1594589 h 1594589"/>
              <a:gd name="connsiteX1" fmla="*/ 0 w 604390"/>
              <a:gd name="connsiteY1" fmla="*/ 1594588 h 1594589"/>
              <a:gd name="connsiteX2" fmla="*/ 604389 w 604390"/>
              <a:gd name="connsiteY2" fmla="*/ 0 h 1594589"/>
              <a:gd name="connsiteX3" fmla="*/ 604390 w 604390"/>
              <a:gd name="connsiteY3" fmla="*/ 0 h 1594589"/>
              <a:gd name="connsiteX4" fmla="*/ 1 w 604390"/>
              <a:gd name="connsiteY4" fmla="*/ 1594589 h 1594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4390" h="1594589">
                <a:moveTo>
                  <a:pt x="1" y="1594589"/>
                </a:moveTo>
                <a:lnTo>
                  <a:pt x="0" y="1594588"/>
                </a:lnTo>
                <a:lnTo>
                  <a:pt x="604389" y="0"/>
                </a:lnTo>
                <a:lnTo>
                  <a:pt x="604390" y="0"/>
                </a:lnTo>
                <a:lnTo>
                  <a:pt x="1" y="159458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Полилиния 9"/>
          <p:cNvSpPr/>
          <p:nvPr/>
        </p:nvSpPr>
        <p:spPr>
          <a:xfrm flipH="1" flipV="1">
            <a:off x="10099339" y="5560181"/>
            <a:ext cx="436788" cy="1297819"/>
          </a:xfrm>
          <a:custGeom>
            <a:avLst/>
            <a:gdLst>
              <a:gd name="connsiteX0" fmla="*/ 436788 w 436788"/>
              <a:gd name="connsiteY0" fmla="*/ 1297819 h 1297819"/>
              <a:gd name="connsiteX1" fmla="*/ 0 w 436788"/>
              <a:gd name="connsiteY1" fmla="*/ 0 h 1297819"/>
              <a:gd name="connsiteX2" fmla="*/ 0 w 436788"/>
              <a:gd name="connsiteY2" fmla="*/ 0 h 1297819"/>
              <a:gd name="connsiteX3" fmla="*/ 436788 w 436788"/>
              <a:gd name="connsiteY3" fmla="*/ 1297819 h 1297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788" h="1297819">
                <a:moveTo>
                  <a:pt x="436788" y="1297819"/>
                </a:moveTo>
                <a:lnTo>
                  <a:pt x="0" y="0"/>
                </a:lnTo>
                <a:lnTo>
                  <a:pt x="0" y="0"/>
                </a:lnTo>
                <a:lnTo>
                  <a:pt x="436788" y="129781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Полилиния 11"/>
          <p:cNvSpPr/>
          <p:nvPr/>
        </p:nvSpPr>
        <p:spPr>
          <a:xfrm flipH="1" flipV="1">
            <a:off x="10814216" y="6032231"/>
            <a:ext cx="1377784" cy="825769"/>
          </a:xfrm>
          <a:custGeom>
            <a:avLst/>
            <a:gdLst>
              <a:gd name="connsiteX0" fmla="*/ 0 w 1377784"/>
              <a:gd name="connsiteY0" fmla="*/ 825769 h 825769"/>
              <a:gd name="connsiteX1" fmla="*/ 0 w 1377784"/>
              <a:gd name="connsiteY1" fmla="*/ 825769 h 825769"/>
              <a:gd name="connsiteX2" fmla="*/ 1377783 w 1377784"/>
              <a:gd name="connsiteY2" fmla="*/ 0 h 825769"/>
              <a:gd name="connsiteX3" fmla="*/ 1377784 w 1377784"/>
              <a:gd name="connsiteY3" fmla="*/ 0 h 825769"/>
              <a:gd name="connsiteX4" fmla="*/ 0 w 1377784"/>
              <a:gd name="connsiteY4" fmla="*/ 825769 h 825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7784" h="825769">
                <a:moveTo>
                  <a:pt x="0" y="825769"/>
                </a:moveTo>
                <a:lnTo>
                  <a:pt x="0" y="825769"/>
                </a:lnTo>
                <a:lnTo>
                  <a:pt x="1377783" y="0"/>
                </a:lnTo>
                <a:lnTo>
                  <a:pt x="1377784" y="0"/>
                </a:lnTo>
                <a:lnTo>
                  <a:pt x="0" y="82576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56" name="Группа 55"/>
          <p:cNvGrpSpPr/>
          <p:nvPr userDrawn="1"/>
        </p:nvGrpSpPr>
        <p:grpSpPr>
          <a:xfrm>
            <a:off x="10099340" y="2552027"/>
            <a:ext cx="2092661" cy="4305973"/>
            <a:chOff x="10099340" y="2552027"/>
            <a:chExt cx="2092661" cy="4305973"/>
          </a:xfrm>
          <a:solidFill>
            <a:schemeClr val="tx2">
              <a:lumMod val="60000"/>
              <a:lumOff val="40000"/>
              <a:alpha val="75000"/>
            </a:schemeClr>
          </a:solidFill>
        </p:grpSpPr>
        <p:sp>
          <p:nvSpPr>
            <p:cNvPr id="22" name="Полилиния 21"/>
            <p:cNvSpPr/>
            <p:nvPr/>
          </p:nvSpPr>
          <p:spPr>
            <a:xfrm flipH="1" flipV="1">
              <a:off x="10867816" y="2552027"/>
              <a:ext cx="1324184" cy="1594588"/>
            </a:xfrm>
            <a:custGeom>
              <a:avLst/>
              <a:gdLst>
                <a:gd name="connsiteX0" fmla="*/ 719795 w 1324184"/>
                <a:gd name="connsiteY0" fmla="*/ 1594588 h 1594588"/>
                <a:gd name="connsiteX1" fmla="*/ 0 w 1324184"/>
                <a:gd name="connsiteY1" fmla="*/ 834469 h 1594588"/>
                <a:gd name="connsiteX2" fmla="*/ 0 w 1324184"/>
                <a:gd name="connsiteY2" fmla="*/ 70462 h 1594588"/>
                <a:gd name="connsiteX3" fmla="*/ 1324184 w 1324184"/>
                <a:gd name="connsiteY3" fmla="*/ 0 h 1594588"/>
                <a:gd name="connsiteX4" fmla="*/ 719795 w 1324184"/>
                <a:gd name="connsiteY4" fmla="*/ 1594588 h 15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4184" h="1594588">
                  <a:moveTo>
                    <a:pt x="719795" y="1594588"/>
                  </a:moveTo>
                  <a:lnTo>
                    <a:pt x="0" y="834469"/>
                  </a:lnTo>
                  <a:lnTo>
                    <a:pt x="0" y="70462"/>
                  </a:lnTo>
                  <a:lnTo>
                    <a:pt x="1324184" y="0"/>
                  </a:lnTo>
                  <a:lnTo>
                    <a:pt x="719795" y="159458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7" name="Полилиния 26"/>
            <p:cNvSpPr/>
            <p:nvPr/>
          </p:nvSpPr>
          <p:spPr>
            <a:xfrm flipH="1" flipV="1">
              <a:off x="10099340" y="5560182"/>
              <a:ext cx="2092661" cy="1297818"/>
            </a:xfrm>
            <a:custGeom>
              <a:avLst/>
              <a:gdLst>
                <a:gd name="connsiteX0" fmla="*/ 2092661 w 2092661"/>
                <a:gd name="connsiteY0" fmla="*/ 1297818 h 1297818"/>
                <a:gd name="connsiteX1" fmla="*/ 0 w 2092661"/>
                <a:gd name="connsiteY1" fmla="*/ 1183440 h 1297818"/>
                <a:gd name="connsiteX2" fmla="*/ 0 w 2092661"/>
                <a:gd name="connsiteY2" fmla="*/ 1176850 h 1297818"/>
                <a:gd name="connsiteX3" fmla="*/ 0 w 2092661"/>
                <a:gd name="connsiteY3" fmla="*/ 825769 h 1297818"/>
                <a:gd name="connsiteX4" fmla="*/ 1377784 w 2092661"/>
                <a:gd name="connsiteY4" fmla="*/ 0 h 1297818"/>
                <a:gd name="connsiteX5" fmla="*/ 1655873 w 2092661"/>
                <a:gd name="connsiteY5" fmla="*/ 0 h 1297818"/>
                <a:gd name="connsiteX6" fmla="*/ 2092661 w 2092661"/>
                <a:gd name="connsiteY6" fmla="*/ 1297818 h 129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2661" h="1297818">
                  <a:moveTo>
                    <a:pt x="2092661" y="1297818"/>
                  </a:moveTo>
                  <a:lnTo>
                    <a:pt x="0" y="1183440"/>
                  </a:lnTo>
                  <a:lnTo>
                    <a:pt x="0" y="1176850"/>
                  </a:lnTo>
                  <a:lnTo>
                    <a:pt x="0" y="825769"/>
                  </a:lnTo>
                  <a:lnTo>
                    <a:pt x="1377784" y="0"/>
                  </a:lnTo>
                  <a:lnTo>
                    <a:pt x="1655873" y="0"/>
                  </a:lnTo>
                  <a:lnTo>
                    <a:pt x="2092661" y="12978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57" name="Группа 56"/>
          <p:cNvGrpSpPr/>
          <p:nvPr userDrawn="1"/>
        </p:nvGrpSpPr>
        <p:grpSpPr>
          <a:xfrm>
            <a:off x="10814218" y="181794"/>
            <a:ext cx="1377783" cy="6676206"/>
            <a:chOff x="10814218" y="181794"/>
            <a:chExt cx="1377783" cy="6676206"/>
          </a:xfrm>
          <a:solidFill>
            <a:schemeClr val="tx2">
              <a:lumMod val="60000"/>
              <a:lumOff val="40000"/>
              <a:alpha val="60000"/>
            </a:schemeClr>
          </a:solidFill>
        </p:grpSpPr>
        <p:sp>
          <p:nvSpPr>
            <p:cNvPr id="16" name="Полилиния 15"/>
            <p:cNvSpPr/>
            <p:nvPr/>
          </p:nvSpPr>
          <p:spPr>
            <a:xfrm flipH="1" flipV="1">
              <a:off x="11095162" y="181794"/>
              <a:ext cx="1096839" cy="1486565"/>
            </a:xfrm>
            <a:custGeom>
              <a:avLst/>
              <a:gdLst>
                <a:gd name="connsiteX0" fmla="*/ 0 w 1096839"/>
                <a:gd name="connsiteY0" fmla="*/ 1486565 h 1486565"/>
                <a:gd name="connsiteX1" fmla="*/ 0 w 1096839"/>
                <a:gd name="connsiteY1" fmla="*/ 0 h 1486565"/>
                <a:gd name="connsiteX2" fmla="*/ 1096839 w 1096839"/>
                <a:gd name="connsiteY2" fmla="*/ 158301 h 1486565"/>
                <a:gd name="connsiteX3" fmla="*/ 0 w 1096839"/>
                <a:gd name="connsiteY3" fmla="*/ 1486565 h 1486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6839" h="1486565">
                  <a:moveTo>
                    <a:pt x="0" y="1486565"/>
                  </a:moveTo>
                  <a:lnTo>
                    <a:pt x="0" y="0"/>
                  </a:lnTo>
                  <a:lnTo>
                    <a:pt x="1096839" y="158301"/>
                  </a:lnTo>
                  <a:lnTo>
                    <a:pt x="0" y="148656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1" name="Полилиния 20"/>
            <p:cNvSpPr/>
            <p:nvPr/>
          </p:nvSpPr>
          <p:spPr>
            <a:xfrm flipH="1" flipV="1">
              <a:off x="11470504" y="2005913"/>
              <a:ext cx="721497" cy="1306232"/>
            </a:xfrm>
            <a:custGeom>
              <a:avLst/>
              <a:gdLst>
                <a:gd name="connsiteX0" fmla="*/ 0 w 721497"/>
                <a:gd name="connsiteY0" fmla="*/ 1305618 h 1306232"/>
                <a:gd name="connsiteX1" fmla="*/ 0 w 721497"/>
                <a:gd name="connsiteY1" fmla="*/ 1234 h 1306232"/>
                <a:gd name="connsiteX2" fmla="*/ 0 w 721497"/>
                <a:gd name="connsiteY2" fmla="*/ 0 h 1306232"/>
                <a:gd name="connsiteX3" fmla="*/ 719795 w 721497"/>
                <a:gd name="connsiteY3" fmla="*/ 760119 h 1306232"/>
                <a:gd name="connsiteX4" fmla="*/ 719114 w 721497"/>
                <a:gd name="connsiteY4" fmla="*/ 761915 h 1306232"/>
                <a:gd name="connsiteX5" fmla="*/ 719116 w 721497"/>
                <a:gd name="connsiteY5" fmla="*/ 761916 h 1306232"/>
                <a:gd name="connsiteX6" fmla="*/ 719114 w 721497"/>
                <a:gd name="connsiteY6" fmla="*/ 761920 h 1306232"/>
                <a:gd name="connsiteX7" fmla="*/ 719114 w 721497"/>
                <a:gd name="connsiteY7" fmla="*/ 761919 h 1306232"/>
                <a:gd name="connsiteX8" fmla="*/ 719113 w 721497"/>
                <a:gd name="connsiteY8" fmla="*/ 761920 h 1306232"/>
                <a:gd name="connsiteX9" fmla="*/ 1 w 721497"/>
                <a:gd name="connsiteY9" fmla="*/ 1306232 h 1306232"/>
                <a:gd name="connsiteX10" fmla="*/ 1 w 721497"/>
                <a:gd name="connsiteY10" fmla="*/ 1305618 h 1306232"/>
                <a:gd name="connsiteX11" fmla="*/ 719114 w 721497"/>
                <a:gd name="connsiteY11" fmla="*/ 761920 h 1306232"/>
                <a:gd name="connsiteX12" fmla="*/ 719115 w 721497"/>
                <a:gd name="connsiteY12" fmla="*/ 761920 h 1306232"/>
                <a:gd name="connsiteX13" fmla="*/ 719117 w 721497"/>
                <a:gd name="connsiteY13" fmla="*/ 761916 h 1306232"/>
                <a:gd name="connsiteX14" fmla="*/ 719116 w 721497"/>
                <a:gd name="connsiteY14" fmla="*/ 761916 h 1306232"/>
                <a:gd name="connsiteX15" fmla="*/ 719116 w 721497"/>
                <a:gd name="connsiteY15" fmla="*/ 761916 h 1306232"/>
                <a:gd name="connsiteX16" fmla="*/ 719115 w 721497"/>
                <a:gd name="connsiteY16" fmla="*/ 761915 h 1306232"/>
                <a:gd name="connsiteX17" fmla="*/ 719796 w 721497"/>
                <a:gd name="connsiteY17" fmla="*/ 760119 h 1306232"/>
                <a:gd name="connsiteX18" fmla="*/ 719797 w 721497"/>
                <a:gd name="connsiteY18" fmla="*/ 760120 h 1306232"/>
                <a:gd name="connsiteX19" fmla="*/ 719797 w 721497"/>
                <a:gd name="connsiteY19" fmla="*/ 760121 h 1306232"/>
                <a:gd name="connsiteX20" fmla="*/ 721497 w 721497"/>
                <a:gd name="connsiteY20" fmla="*/ 761916 h 1306232"/>
                <a:gd name="connsiteX21" fmla="*/ 720696 w 721497"/>
                <a:gd name="connsiteY21" fmla="*/ 762521 h 1306232"/>
                <a:gd name="connsiteX22" fmla="*/ 720697 w 721497"/>
                <a:gd name="connsiteY22" fmla="*/ 762521 h 1306232"/>
                <a:gd name="connsiteX23" fmla="*/ 721054 w 721497"/>
                <a:gd name="connsiteY23" fmla="*/ 762657 h 1306232"/>
                <a:gd name="connsiteX24" fmla="*/ 720696 w 721497"/>
                <a:gd name="connsiteY24" fmla="*/ 762521 h 1306232"/>
                <a:gd name="connsiteX25" fmla="*/ 719627 w 721497"/>
                <a:gd name="connsiteY25" fmla="*/ 763327 h 1306232"/>
                <a:gd name="connsiteX26" fmla="*/ 719627 w 721497"/>
                <a:gd name="connsiteY26" fmla="*/ 763328 h 1306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721497" h="1306232">
                  <a:moveTo>
                    <a:pt x="0" y="1305618"/>
                  </a:moveTo>
                  <a:lnTo>
                    <a:pt x="0" y="1234"/>
                  </a:lnTo>
                  <a:lnTo>
                    <a:pt x="0" y="0"/>
                  </a:lnTo>
                  <a:lnTo>
                    <a:pt x="719795" y="760119"/>
                  </a:lnTo>
                  <a:lnTo>
                    <a:pt x="719114" y="761915"/>
                  </a:lnTo>
                  <a:lnTo>
                    <a:pt x="719116" y="761916"/>
                  </a:lnTo>
                  <a:lnTo>
                    <a:pt x="719114" y="761920"/>
                  </a:lnTo>
                  <a:lnTo>
                    <a:pt x="719114" y="761919"/>
                  </a:lnTo>
                  <a:lnTo>
                    <a:pt x="719113" y="761920"/>
                  </a:lnTo>
                  <a:close/>
                  <a:moveTo>
                    <a:pt x="1" y="1306232"/>
                  </a:moveTo>
                  <a:lnTo>
                    <a:pt x="1" y="1305618"/>
                  </a:lnTo>
                  <a:lnTo>
                    <a:pt x="719114" y="761920"/>
                  </a:lnTo>
                  <a:lnTo>
                    <a:pt x="719115" y="761920"/>
                  </a:lnTo>
                  <a:lnTo>
                    <a:pt x="719117" y="761916"/>
                  </a:lnTo>
                  <a:lnTo>
                    <a:pt x="719116" y="761916"/>
                  </a:lnTo>
                  <a:lnTo>
                    <a:pt x="719116" y="761916"/>
                  </a:lnTo>
                  <a:lnTo>
                    <a:pt x="719115" y="761915"/>
                  </a:lnTo>
                  <a:lnTo>
                    <a:pt x="719796" y="760119"/>
                  </a:lnTo>
                  <a:lnTo>
                    <a:pt x="719797" y="760120"/>
                  </a:lnTo>
                  <a:lnTo>
                    <a:pt x="719797" y="760121"/>
                  </a:lnTo>
                  <a:lnTo>
                    <a:pt x="721497" y="761916"/>
                  </a:lnTo>
                  <a:lnTo>
                    <a:pt x="720696" y="762521"/>
                  </a:lnTo>
                  <a:lnTo>
                    <a:pt x="720697" y="762521"/>
                  </a:lnTo>
                  <a:lnTo>
                    <a:pt x="721054" y="762657"/>
                  </a:lnTo>
                  <a:lnTo>
                    <a:pt x="720696" y="762521"/>
                  </a:lnTo>
                  <a:lnTo>
                    <a:pt x="719627" y="763327"/>
                  </a:lnTo>
                  <a:lnTo>
                    <a:pt x="719627" y="76332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8" name="Полилиния 27"/>
            <p:cNvSpPr/>
            <p:nvPr/>
          </p:nvSpPr>
          <p:spPr>
            <a:xfrm flipH="1" flipV="1">
              <a:off x="10814218" y="6032231"/>
              <a:ext cx="1377783" cy="825769"/>
            </a:xfrm>
            <a:custGeom>
              <a:avLst/>
              <a:gdLst>
                <a:gd name="connsiteX0" fmla="*/ 0 w 1377783"/>
                <a:gd name="connsiteY0" fmla="*/ 825769 h 825769"/>
                <a:gd name="connsiteX1" fmla="*/ 0 w 1377783"/>
                <a:gd name="connsiteY1" fmla="*/ 0 h 825769"/>
                <a:gd name="connsiteX2" fmla="*/ 1377783 w 1377783"/>
                <a:gd name="connsiteY2" fmla="*/ 0 h 825769"/>
                <a:gd name="connsiteX3" fmla="*/ 0 w 1377783"/>
                <a:gd name="connsiteY3" fmla="*/ 825769 h 82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7783" h="825769">
                  <a:moveTo>
                    <a:pt x="0" y="825769"/>
                  </a:moveTo>
                  <a:lnTo>
                    <a:pt x="0" y="0"/>
                  </a:lnTo>
                  <a:lnTo>
                    <a:pt x="1377783" y="0"/>
                  </a:lnTo>
                  <a:lnTo>
                    <a:pt x="0" y="82576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11" name="Группа 10"/>
          <p:cNvGrpSpPr/>
          <p:nvPr userDrawn="1"/>
        </p:nvGrpSpPr>
        <p:grpSpPr>
          <a:xfrm>
            <a:off x="8958349" y="0"/>
            <a:ext cx="3233652" cy="6858001"/>
            <a:chOff x="8958349" y="0"/>
            <a:chExt cx="3233652" cy="6858001"/>
          </a:xfrm>
          <a:solidFill>
            <a:schemeClr val="tx2">
              <a:lumMod val="60000"/>
              <a:lumOff val="40000"/>
              <a:alpha val="45000"/>
            </a:schemeClr>
          </a:solidFill>
        </p:grpSpPr>
        <p:sp>
          <p:nvSpPr>
            <p:cNvPr id="15" name="Полилиния 14"/>
            <p:cNvSpPr/>
            <p:nvPr/>
          </p:nvSpPr>
          <p:spPr>
            <a:xfrm flipH="1" flipV="1">
              <a:off x="10771568" y="0"/>
              <a:ext cx="1420433" cy="1510057"/>
            </a:xfrm>
            <a:custGeom>
              <a:avLst/>
              <a:gdLst>
                <a:gd name="connsiteX0" fmla="*/ 1420433 w 1420433"/>
                <a:gd name="connsiteY0" fmla="*/ 1510057 h 1510057"/>
                <a:gd name="connsiteX1" fmla="*/ 0 w 1420433"/>
                <a:gd name="connsiteY1" fmla="*/ 1510057 h 1510057"/>
                <a:gd name="connsiteX2" fmla="*/ 0 w 1420433"/>
                <a:gd name="connsiteY2" fmla="*/ 1328266 h 1510057"/>
                <a:gd name="connsiteX3" fmla="*/ 1096841 w 1420433"/>
                <a:gd name="connsiteY3" fmla="*/ 0 h 1510057"/>
                <a:gd name="connsiteX4" fmla="*/ 1420433 w 1420433"/>
                <a:gd name="connsiteY4" fmla="*/ 1510057 h 1510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433" h="1510057">
                  <a:moveTo>
                    <a:pt x="1420433" y="1510057"/>
                  </a:moveTo>
                  <a:lnTo>
                    <a:pt x="0" y="1510057"/>
                  </a:lnTo>
                  <a:lnTo>
                    <a:pt x="0" y="1328266"/>
                  </a:lnTo>
                  <a:lnTo>
                    <a:pt x="1096841" y="0"/>
                  </a:lnTo>
                  <a:lnTo>
                    <a:pt x="1420433" y="151005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8" name="Полилиния 17"/>
            <p:cNvSpPr/>
            <p:nvPr/>
          </p:nvSpPr>
          <p:spPr>
            <a:xfrm flipH="1" flipV="1">
              <a:off x="11095162" y="1510059"/>
              <a:ext cx="1096839" cy="1038759"/>
            </a:xfrm>
            <a:custGeom>
              <a:avLst/>
              <a:gdLst>
                <a:gd name="connsiteX0" fmla="*/ 1096839 w 1096839"/>
                <a:gd name="connsiteY0" fmla="*/ 1038759 h 1038759"/>
                <a:gd name="connsiteX1" fmla="*/ 0 w 1096839"/>
                <a:gd name="connsiteY1" fmla="*/ 880458 h 1038759"/>
                <a:gd name="connsiteX2" fmla="*/ 0 w 1096839"/>
                <a:gd name="connsiteY2" fmla="*/ 542904 h 1038759"/>
                <a:gd name="connsiteX3" fmla="*/ 719626 w 1096839"/>
                <a:gd name="connsiteY3" fmla="*/ 0 h 1038759"/>
                <a:gd name="connsiteX4" fmla="*/ 1096839 w 1096839"/>
                <a:gd name="connsiteY4" fmla="*/ 1038759 h 1038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6839" h="1038759">
                  <a:moveTo>
                    <a:pt x="1096839" y="1038759"/>
                  </a:moveTo>
                  <a:lnTo>
                    <a:pt x="0" y="880458"/>
                  </a:lnTo>
                  <a:lnTo>
                    <a:pt x="0" y="542904"/>
                  </a:lnTo>
                  <a:lnTo>
                    <a:pt x="719626" y="0"/>
                  </a:lnTo>
                  <a:lnTo>
                    <a:pt x="1096839" y="103875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0" name="Полилиния 19"/>
            <p:cNvSpPr/>
            <p:nvPr/>
          </p:nvSpPr>
          <p:spPr>
            <a:xfrm flipH="1" flipV="1">
              <a:off x="10195580" y="2061261"/>
              <a:ext cx="1276624" cy="2085356"/>
            </a:xfrm>
            <a:custGeom>
              <a:avLst/>
              <a:gdLst>
                <a:gd name="connsiteX0" fmla="*/ 1276624 w 1276624"/>
                <a:gd name="connsiteY0" fmla="*/ 2085356 h 2085356"/>
                <a:gd name="connsiteX1" fmla="*/ 1257 w 1276624"/>
                <a:gd name="connsiteY1" fmla="*/ 1597128 h 2085356"/>
                <a:gd name="connsiteX2" fmla="*/ 900 w 1276624"/>
                <a:gd name="connsiteY2" fmla="*/ 1596992 h 2085356"/>
                <a:gd name="connsiteX3" fmla="*/ 1701 w 1276624"/>
                <a:gd name="connsiteY3" fmla="*/ 1596387 h 2085356"/>
                <a:gd name="connsiteX4" fmla="*/ 0 w 1276624"/>
                <a:gd name="connsiteY4" fmla="*/ 1594591 h 2085356"/>
                <a:gd name="connsiteX5" fmla="*/ 604389 w 1276624"/>
                <a:gd name="connsiteY5" fmla="*/ 2 h 2085356"/>
                <a:gd name="connsiteX6" fmla="*/ 604388 w 1276624"/>
                <a:gd name="connsiteY6" fmla="*/ 2 h 2085356"/>
                <a:gd name="connsiteX7" fmla="*/ 604389 w 1276624"/>
                <a:gd name="connsiteY7" fmla="*/ 0 h 2085356"/>
                <a:gd name="connsiteX8" fmla="*/ 604677 w 1276624"/>
                <a:gd name="connsiteY8" fmla="*/ 884 h 2085356"/>
                <a:gd name="connsiteX9" fmla="*/ 1275749 w 1276624"/>
                <a:gd name="connsiteY9" fmla="*/ 2082642 h 2085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76624" h="2085356">
                  <a:moveTo>
                    <a:pt x="1276624" y="2085356"/>
                  </a:moveTo>
                  <a:lnTo>
                    <a:pt x="1257" y="1597128"/>
                  </a:lnTo>
                  <a:lnTo>
                    <a:pt x="900" y="1596992"/>
                  </a:lnTo>
                  <a:lnTo>
                    <a:pt x="1701" y="1596387"/>
                  </a:lnTo>
                  <a:lnTo>
                    <a:pt x="0" y="1594591"/>
                  </a:lnTo>
                  <a:lnTo>
                    <a:pt x="604389" y="2"/>
                  </a:lnTo>
                  <a:lnTo>
                    <a:pt x="604388" y="2"/>
                  </a:lnTo>
                  <a:lnTo>
                    <a:pt x="604389" y="0"/>
                  </a:lnTo>
                  <a:lnTo>
                    <a:pt x="604677" y="884"/>
                  </a:lnTo>
                  <a:lnTo>
                    <a:pt x="1275749" y="20826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6" name="Полилиния 25"/>
            <p:cNvSpPr/>
            <p:nvPr/>
          </p:nvSpPr>
          <p:spPr>
            <a:xfrm flipH="1" flipV="1">
              <a:off x="10099340" y="4146617"/>
              <a:ext cx="2092661" cy="1527943"/>
            </a:xfrm>
            <a:custGeom>
              <a:avLst/>
              <a:gdLst>
                <a:gd name="connsiteX0" fmla="*/ 1324186 w 2092661"/>
                <a:gd name="connsiteY0" fmla="*/ 1527943 h 1527943"/>
                <a:gd name="connsiteX1" fmla="*/ 0 w 2092661"/>
                <a:gd name="connsiteY1" fmla="*/ 412540 h 1527943"/>
                <a:gd name="connsiteX2" fmla="*/ 0 w 2092661"/>
                <a:gd name="connsiteY2" fmla="*/ 0 h 1527943"/>
                <a:gd name="connsiteX3" fmla="*/ 2092661 w 2092661"/>
                <a:gd name="connsiteY3" fmla="*/ 114378 h 1527943"/>
                <a:gd name="connsiteX4" fmla="*/ 2092661 w 2092661"/>
                <a:gd name="connsiteY4" fmla="*/ 114379 h 1527943"/>
                <a:gd name="connsiteX5" fmla="*/ 1324186 w 2092661"/>
                <a:gd name="connsiteY5" fmla="*/ 1527943 h 1527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2661" h="1527943">
                  <a:moveTo>
                    <a:pt x="1324186" y="1527943"/>
                  </a:moveTo>
                  <a:lnTo>
                    <a:pt x="0" y="412540"/>
                  </a:lnTo>
                  <a:lnTo>
                    <a:pt x="0" y="0"/>
                  </a:lnTo>
                  <a:lnTo>
                    <a:pt x="2092661" y="114378"/>
                  </a:lnTo>
                  <a:lnTo>
                    <a:pt x="2092661" y="114379"/>
                  </a:lnTo>
                  <a:lnTo>
                    <a:pt x="1324186" y="152794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9" name="Полилиния 28"/>
            <p:cNvSpPr/>
            <p:nvPr/>
          </p:nvSpPr>
          <p:spPr>
            <a:xfrm>
              <a:off x="8958349" y="5321914"/>
              <a:ext cx="1577778" cy="1536087"/>
            </a:xfrm>
            <a:custGeom>
              <a:avLst/>
              <a:gdLst>
                <a:gd name="connsiteX0" fmla="*/ 0 w 1577778"/>
                <a:gd name="connsiteY0" fmla="*/ 0 h 1536087"/>
                <a:gd name="connsiteX1" fmla="*/ 1140845 w 1577778"/>
                <a:gd name="connsiteY1" fmla="*/ 238237 h 1536087"/>
                <a:gd name="connsiteX2" fmla="*/ 1140989 w 1577778"/>
                <a:gd name="connsiteY2" fmla="*/ 238268 h 1536087"/>
                <a:gd name="connsiteX3" fmla="*/ 1140990 w 1577778"/>
                <a:gd name="connsiteY3" fmla="*/ 238268 h 1536087"/>
                <a:gd name="connsiteX4" fmla="*/ 1577778 w 1577778"/>
                <a:gd name="connsiteY4" fmla="*/ 1536087 h 1536087"/>
                <a:gd name="connsiteX5" fmla="*/ 1489371 w 1577778"/>
                <a:gd name="connsiteY5" fmla="*/ 1536087 h 1536087"/>
                <a:gd name="connsiteX6" fmla="*/ 468026 w 1577778"/>
                <a:gd name="connsiteY6" fmla="*/ 1536087 h 1536087"/>
                <a:gd name="connsiteX7" fmla="*/ 0 w 1577778"/>
                <a:gd name="connsiteY7" fmla="*/ 0 h 1536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7778" h="1536087">
                  <a:moveTo>
                    <a:pt x="0" y="0"/>
                  </a:moveTo>
                  <a:lnTo>
                    <a:pt x="1140845" y="238237"/>
                  </a:lnTo>
                  <a:lnTo>
                    <a:pt x="1140989" y="238268"/>
                  </a:lnTo>
                  <a:lnTo>
                    <a:pt x="1140990" y="238268"/>
                  </a:lnTo>
                  <a:lnTo>
                    <a:pt x="1577778" y="1536087"/>
                  </a:lnTo>
                  <a:lnTo>
                    <a:pt x="1489371" y="1536087"/>
                  </a:lnTo>
                  <a:lnTo>
                    <a:pt x="468026" y="1536087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925552" y="2410237"/>
            <a:ext cx="10340896" cy="2037526"/>
          </a:xfrm>
          <a:prstGeom prst="rect">
            <a:avLst/>
          </a:prstGeom>
        </p:spPr>
        <p:txBody>
          <a:bodyPr anchor="ctr"/>
          <a:lstStyle>
            <a:lvl1pPr algn="l">
              <a:defRPr sz="6000" cap="all" spc="100" baseline="0">
                <a:ln w="38100">
                  <a:solidFill>
                    <a:schemeClr val="accent2"/>
                  </a:solidFill>
                  <a:miter lim="800000"/>
                </a:ln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5552" y="5112967"/>
            <a:ext cx="9742448" cy="3587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800" b="1">
                <a:solidFill>
                  <a:schemeClr val="tx1"/>
                </a:solidFill>
                <a:latin typeface="+mn-lt"/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fld id="{9EDA017F-ABDB-4A4D-82BE-F6A3BB8B66EF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60" name="Прямоугольный треугольник 59"/>
          <p:cNvSpPr/>
          <p:nvPr userDrawn="1"/>
        </p:nvSpPr>
        <p:spPr>
          <a:xfrm rot="5400000">
            <a:off x="178129" y="-178130"/>
            <a:ext cx="961901" cy="1318161"/>
          </a:xfrm>
          <a:prstGeom prst="rtTriangle">
            <a:avLst/>
          </a:prstGeom>
          <a:solidFill>
            <a:schemeClr val="tx2">
              <a:lumMod val="60000"/>
              <a:lumOff val="40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dirty="0"/>
          </a:p>
        </p:txBody>
      </p:sp>
      <p:sp>
        <p:nvSpPr>
          <p:cNvPr id="72" name="Полилиния 71"/>
          <p:cNvSpPr/>
          <p:nvPr userDrawn="1"/>
        </p:nvSpPr>
        <p:spPr>
          <a:xfrm rot="5400000">
            <a:off x="11876" y="950030"/>
            <a:ext cx="890648" cy="914398"/>
          </a:xfrm>
          <a:custGeom>
            <a:avLst/>
            <a:gdLst>
              <a:gd name="connsiteX0" fmla="*/ 0 w 890648"/>
              <a:gd name="connsiteY0" fmla="*/ 914398 h 914398"/>
              <a:gd name="connsiteX1" fmla="*/ 890648 w 890648"/>
              <a:gd name="connsiteY1" fmla="*/ 0 h 914398"/>
              <a:gd name="connsiteX2" fmla="*/ 755181 w 890648"/>
              <a:gd name="connsiteY2" fmla="*/ 914398 h 914398"/>
              <a:gd name="connsiteX3" fmla="*/ 0 w 890648"/>
              <a:gd name="connsiteY3" fmla="*/ 914398 h 914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0648" h="914398">
                <a:moveTo>
                  <a:pt x="0" y="914398"/>
                </a:moveTo>
                <a:lnTo>
                  <a:pt x="890648" y="0"/>
                </a:lnTo>
                <a:lnTo>
                  <a:pt x="755181" y="914398"/>
                </a:lnTo>
                <a:lnTo>
                  <a:pt x="0" y="914398"/>
                </a:lnTo>
                <a:close/>
              </a:path>
            </a:pathLst>
          </a:custGeom>
          <a:solidFill>
            <a:schemeClr val="tx2">
              <a:lumMod val="60000"/>
              <a:lumOff val="4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ru-RU" dirty="0"/>
          </a:p>
        </p:txBody>
      </p:sp>
      <p:grpSp>
        <p:nvGrpSpPr>
          <p:cNvPr id="82" name="Группа 81"/>
          <p:cNvGrpSpPr/>
          <p:nvPr userDrawn="1"/>
        </p:nvGrpSpPr>
        <p:grpSpPr>
          <a:xfrm>
            <a:off x="-1" y="0"/>
            <a:ext cx="11472376" cy="5560181"/>
            <a:chOff x="-1" y="0"/>
            <a:chExt cx="11472376" cy="5560181"/>
          </a:xfrm>
          <a:solidFill>
            <a:schemeClr val="tx2">
              <a:lumMod val="60000"/>
              <a:lumOff val="40000"/>
              <a:alpha val="30000"/>
            </a:schemeClr>
          </a:solidFill>
        </p:grpSpPr>
        <p:sp>
          <p:nvSpPr>
            <p:cNvPr id="17" name="Полилиния 16"/>
            <p:cNvSpPr/>
            <p:nvPr/>
          </p:nvSpPr>
          <p:spPr>
            <a:xfrm flipH="1" flipV="1">
              <a:off x="10181042" y="1510059"/>
              <a:ext cx="1291333" cy="1039566"/>
            </a:xfrm>
            <a:custGeom>
              <a:avLst/>
              <a:gdLst>
                <a:gd name="connsiteX0" fmla="*/ 377214 w 1291333"/>
                <a:gd name="connsiteY0" fmla="*/ 1039566 h 1039566"/>
                <a:gd name="connsiteX1" fmla="*/ 0 w 1291333"/>
                <a:gd name="connsiteY1" fmla="*/ 806 h 1039566"/>
                <a:gd name="connsiteX2" fmla="*/ 1069 w 1291333"/>
                <a:gd name="connsiteY2" fmla="*/ 0 h 1039566"/>
                <a:gd name="connsiteX3" fmla="*/ 1427 w 1291333"/>
                <a:gd name="connsiteY3" fmla="*/ 136 h 1039566"/>
                <a:gd name="connsiteX4" fmla="*/ 1276794 w 1291333"/>
                <a:gd name="connsiteY4" fmla="*/ 488364 h 1039566"/>
                <a:gd name="connsiteX5" fmla="*/ 1279530 w 1291333"/>
                <a:gd name="connsiteY5" fmla="*/ 496853 h 1039566"/>
                <a:gd name="connsiteX6" fmla="*/ 1285555 w 1291333"/>
                <a:gd name="connsiteY6" fmla="*/ 489321 h 1039566"/>
                <a:gd name="connsiteX7" fmla="*/ 1291333 w 1291333"/>
                <a:gd name="connsiteY7" fmla="*/ 491522 h 1039566"/>
                <a:gd name="connsiteX8" fmla="*/ 377214 w 1291333"/>
                <a:gd name="connsiteY8" fmla="*/ 1039566 h 1039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1333" h="1039566">
                  <a:moveTo>
                    <a:pt x="377214" y="1039566"/>
                  </a:moveTo>
                  <a:lnTo>
                    <a:pt x="0" y="806"/>
                  </a:lnTo>
                  <a:lnTo>
                    <a:pt x="1069" y="0"/>
                  </a:lnTo>
                  <a:lnTo>
                    <a:pt x="1427" y="136"/>
                  </a:lnTo>
                  <a:lnTo>
                    <a:pt x="1276794" y="488364"/>
                  </a:lnTo>
                  <a:lnTo>
                    <a:pt x="1279530" y="496853"/>
                  </a:lnTo>
                  <a:lnTo>
                    <a:pt x="1285555" y="489321"/>
                  </a:lnTo>
                  <a:lnTo>
                    <a:pt x="1291333" y="491522"/>
                  </a:lnTo>
                  <a:lnTo>
                    <a:pt x="377214" y="10395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4" name="Полилиния 13"/>
            <p:cNvSpPr/>
            <p:nvPr/>
          </p:nvSpPr>
          <p:spPr>
            <a:xfrm flipH="1" flipV="1">
              <a:off x="8929596" y="0"/>
              <a:ext cx="2165563" cy="1510056"/>
            </a:xfrm>
            <a:custGeom>
              <a:avLst/>
              <a:gdLst>
                <a:gd name="connsiteX0" fmla="*/ 2165563 w 2165563"/>
                <a:gd name="connsiteY0" fmla="*/ 1510056 h 1510056"/>
                <a:gd name="connsiteX1" fmla="*/ 323592 w 2165563"/>
                <a:gd name="connsiteY1" fmla="*/ 1510056 h 1510056"/>
                <a:gd name="connsiteX2" fmla="*/ 0 w 2165563"/>
                <a:gd name="connsiteY2" fmla="*/ 0 h 1510056"/>
                <a:gd name="connsiteX3" fmla="*/ 10661 w 2165563"/>
                <a:gd name="connsiteY3" fmla="*/ 7432 h 1510056"/>
                <a:gd name="connsiteX4" fmla="*/ 2165563 w 2165563"/>
                <a:gd name="connsiteY4" fmla="*/ 1510056 h 1510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5563" h="1510056">
                  <a:moveTo>
                    <a:pt x="2165563" y="1510056"/>
                  </a:moveTo>
                  <a:lnTo>
                    <a:pt x="323592" y="1510056"/>
                  </a:lnTo>
                  <a:lnTo>
                    <a:pt x="0" y="0"/>
                  </a:lnTo>
                  <a:lnTo>
                    <a:pt x="10661" y="7432"/>
                  </a:lnTo>
                  <a:lnTo>
                    <a:pt x="2165563" y="15100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ru-RU" dirty="0"/>
            </a:p>
          </p:txBody>
        </p:sp>
        <p:sp>
          <p:nvSpPr>
            <p:cNvPr id="19" name="Полилиния 18"/>
            <p:cNvSpPr/>
            <p:nvPr/>
          </p:nvSpPr>
          <p:spPr>
            <a:xfrm flipH="1" flipV="1">
              <a:off x="8840554" y="2052772"/>
              <a:ext cx="2027258" cy="2093844"/>
            </a:xfrm>
            <a:custGeom>
              <a:avLst/>
              <a:gdLst>
                <a:gd name="connsiteX0" fmla="*/ 680993 w 2027258"/>
                <a:gd name="connsiteY0" fmla="*/ 2086312 h 2093844"/>
                <a:gd name="connsiteX1" fmla="*/ 678557 w 2027258"/>
                <a:gd name="connsiteY1" fmla="*/ 2085384 h 2093844"/>
                <a:gd name="connsiteX2" fmla="*/ 671357 w 2027258"/>
                <a:gd name="connsiteY2" fmla="*/ 2082641 h 2093844"/>
                <a:gd name="connsiteX3" fmla="*/ 285 w 2027258"/>
                <a:gd name="connsiteY3" fmla="*/ 883 h 2093844"/>
                <a:gd name="connsiteX4" fmla="*/ 0 w 2027258"/>
                <a:gd name="connsiteY4" fmla="*/ 0 h 2093844"/>
                <a:gd name="connsiteX5" fmla="*/ 0 w 2027258"/>
                <a:gd name="connsiteY5" fmla="*/ 0 h 2093844"/>
                <a:gd name="connsiteX6" fmla="*/ 335990 w 2027258"/>
                <a:gd name="connsiteY6" fmla="*/ 66852 h 2093844"/>
                <a:gd name="connsiteX7" fmla="*/ 2027258 w 2027258"/>
                <a:gd name="connsiteY7" fmla="*/ 403361 h 2093844"/>
                <a:gd name="connsiteX8" fmla="*/ 2027257 w 2027258"/>
                <a:gd name="connsiteY8" fmla="*/ 403362 h 2093844"/>
                <a:gd name="connsiteX9" fmla="*/ 2027258 w 2027258"/>
                <a:gd name="connsiteY9" fmla="*/ 403362 h 2093844"/>
                <a:gd name="connsiteX10" fmla="*/ 674967 w 2027258"/>
                <a:gd name="connsiteY10" fmla="*/ 2093844 h 2093844"/>
                <a:gd name="connsiteX11" fmla="*/ 672231 w 2027258"/>
                <a:gd name="connsiteY11" fmla="*/ 2085355 h 2093844"/>
                <a:gd name="connsiteX12" fmla="*/ 671356 w 2027258"/>
                <a:gd name="connsiteY12" fmla="*/ 2082641 h 2093844"/>
                <a:gd name="connsiteX13" fmla="*/ 678556 w 2027258"/>
                <a:gd name="connsiteY13" fmla="*/ 2085384 h 2093844"/>
                <a:gd name="connsiteX14" fmla="*/ 680992 w 2027258"/>
                <a:gd name="connsiteY14" fmla="*/ 2086312 h 209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27258" h="2093844">
                  <a:moveTo>
                    <a:pt x="680993" y="2086312"/>
                  </a:moveTo>
                  <a:lnTo>
                    <a:pt x="678557" y="2085384"/>
                  </a:lnTo>
                  <a:lnTo>
                    <a:pt x="671357" y="2082641"/>
                  </a:lnTo>
                  <a:lnTo>
                    <a:pt x="285" y="883"/>
                  </a:lnTo>
                  <a:lnTo>
                    <a:pt x="0" y="0"/>
                  </a:lnTo>
                  <a:lnTo>
                    <a:pt x="0" y="0"/>
                  </a:lnTo>
                  <a:lnTo>
                    <a:pt x="335990" y="66852"/>
                  </a:lnTo>
                  <a:lnTo>
                    <a:pt x="2027258" y="403361"/>
                  </a:lnTo>
                  <a:lnTo>
                    <a:pt x="2027257" y="403362"/>
                  </a:lnTo>
                  <a:lnTo>
                    <a:pt x="2027258" y="403362"/>
                  </a:lnTo>
                  <a:close/>
                  <a:moveTo>
                    <a:pt x="674967" y="2093844"/>
                  </a:moveTo>
                  <a:lnTo>
                    <a:pt x="672231" y="2085355"/>
                  </a:lnTo>
                  <a:lnTo>
                    <a:pt x="671356" y="2082641"/>
                  </a:lnTo>
                  <a:lnTo>
                    <a:pt x="678556" y="2085384"/>
                  </a:lnTo>
                  <a:lnTo>
                    <a:pt x="680992" y="2086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5" name="Полилиния 24"/>
            <p:cNvSpPr/>
            <p:nvPr/>
          </p:nvSpPr>
          <p:spPr>
            <a:xfrm flipH="1" flipV="1">
              <a:off x="8957811" y="4146617"/>
              <a:ext cx="1910002" cy="1413564"/>
            </a:xfrm>
            <a:custGeom>
              <a:avLst/>
              <a:gdLst>
                <a:gd name="connsiteX0" fmla="*/ 0 w 1910002"/>
                <a:gd name="connsiteY0" fmla="*/ 1413564 h 1413564"/>
                <a:gd name="connsiteX1" fmla="*/ 768475 w 1910002"/>
                <a:gd name="connsiteY1" fmla="*/ 0 h 1413564"/>
                <a:gd name="connsiteX2" fmla="*/ 768619 w 1910002"/>
                <a:gd name="connsiteY2" fmla="*/ 31 h 1413564"/>
                <a:gd name="connsiteX3" fmla="*/ 1910002 w 1910002"/>
                <a:gd name="connsiteY3" fmla="*/ 240033 h 1413564"/>
                <a:gd name="connsiteX4" fmla="*/ 0 w 1910002"/>
                <a:gd name="connsiteY4" fmla="*/ 1413564 h 1413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0002" h="1413564">
                  <a:moveTo>
                    <a:pt x="0" y="1413564"/>
                  </a:moveTo>
                  <a:lnTo>
                    <a:pt x="768475" y="0"/>
                  </a:lnTo>
                  <a:lnTo>
                    <a:pt x="768619" y="31"/>
                  </a:lnTo>
                  <a:lnTo>
                    <a:pt x="1910002" y="240033"/>
                  </a:lnTo>
                  <a:lnTo>
                    <a:pt x="0" y="1413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62" name="Прямоугольный треугольник 61"/>
            <p:cNvSpPr/>
            <p:nvPr userDrawn="1"/>
          </p:nvSpPr>
          <p:spPr>
            <a:xfrm rot="5400000">
              <a:off x="178129" y="-178130"/>
              <a:ext cx="961901" cy="1318161"/>
            </a:xfrm>
            <a:custGeom>
              <a:avLst/>
              <a:gdLst>
                <a:gd name="connsiteX0" fmla="*/ 0 w 961901"/>
                <a:gd name="connsiteY0" fmla="*/ 1318161 h 1318161"/>
                <a:gd name="connsiteX1" fmla="*/ 0 w 961901"/>
                <a:gd name="connsiteY1" fmla="*/ 0 h 1318161"/>
                <a:gd name="connsiteX2" fmla="*/ 961901 w 961901"/>
                <a:gd name="connsiteY2" fmla="*/ 1318161 h 1318161"/>
                <a:gd name="connsiteX3" fmla="*/ 0 w 961901"/>
                <a:gd name="connsiteY3" fmla="*/ 1318161 h 1318161"/>
                <a:gd name="connsiteX0" fmla="*/ 1104405 w 1104405"/>
                <a:gd name="connsiteY0" fmla="*/ 35626 h 1318161"/>
                <a:gd name="connsiteX1" fmla="*/ 0 w 1104405"/>
                <a:gd name="connsiteY1" fmla="*/ 0 h 1318161"/>
                <a:gd name="connsiteX2" fmla="*/ 961901 w 1104405"/>
                <a:gd name="connsiteY2" fmla="*/ 1318161 h 1318161"/>
                <a:gd name="connsiteX3" fmla="*/ 1104405 w 1104405"/>
                <a:gd name="connsiteY3" fmla="*/ 35626 h 1318161"/>
                <a:gd name="connsiteX0" fmla="*/ 705054 w 961901"/>
                <a:gd name="connsiteY0" fmla="*/ 487228 h 1318161"/>
                <a:gd name="connsiteX1" fmla="*/ 0 w 961901"/>
                <a:gd name="connsiteY1" fmla="*/ 0 h 1318161"/>
                <a:gd name="connsiteX2" fmla="*/ 961901 w 961901"/>
                <a:gd name="connsiteY2" fmla="*/ 1318161 h 1318161"/>
                <a:gd name="connsiteX3" fmla="*/ 705054 w 961901"/>
                <a:gd name="connsiteY3" fmla="*/ 487228 h 1318161"/>
                <a:gd name="connsiteX0" fmla="*/ 787163 w 961901"/>
                <a:gd name="connsiteY0" fmla="*/ 602928 h 1318161"/>
                <a:gd name="connsiteX1" fmla="*/ 0 w 961901"/>
                <a:gd name="connsiteY1" fmla="*/ 0 h 1318161"/>
                <a:gd name="connsiteX2" fmla="*/ 961901 w 961901"/>
                <a:gd name="connsiteY2" fmla="*/ 1318161 h 1318161"/>
                <a:gd name="connsiteX3" fmla="*/ 787163 w 961901"/>
                <a:gd name="connsiteY3" fmla="*/ 602928 h 131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1901" h="1318161">
                  <a:moveTo>
                    <a:pt x="787163" y="602928"/>
                  </a:moveTo>
                  <a:lnTo>
                    <a:pt x="0" y="0"/>
                  </a:lnTo>
                  <a:lnTo>
                    <a:pt x="961901" y="1318161"/>
                  </a:lnTo>
                  <a:lnTo>
                    <a:pt x="787163" y="60292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ru-RU" dirty="0"/>
            </a:p>
          </p:txBody>
        </p:sp>
      </p:grpSp>
      <p:grpSp>
        <p:nvGrpSpPr>
          <p:cNvPr id="81" name="Группа 80"/>
          <p:cNvGrpSpPr/>
          <p:nvPr userDrawn="1"/>
        </p:nvGrpSpPr>
        <p:grpSpPr>
          <a:xfrm>
            <a:off x="-1" y="-1"/>
            <a:ext cx="12192001" cy="6858002"/>
            <a:chOff x="-1" y="-1"/>
            <a:chExt cx="12192001" cy="6858002"/>
          </a:xfrm>
          <a:solidFill>
            <a:schemeClr val="tx2">
              <a:lumMod val="60000"/>
              <a:lumOff val="40000"/>
              <a:alpha val="15000"/>
            </a:schemeClr>
          </a:solidFill>
        </p:grpSpPr>
        <p:sp>
          <p:nvSpPr>
            <p:cNvPr id="13" name="Полилиния 12"/>
            <p:cNvSpPr/>
            <p:nvPr/>
          </p:nvSpPr>
          <p:spPr>
            <a:xfrm flipH="1" flipV="1">
              <a:off x="8867352" y="0"/>
              <a:ext cx="2227808" cy="2058102"/>
            </a:xfrm>
            <a:custGeom>
              <a:avLst/>
              <a:gdLst>
                <a:gd name="connsiteX0" fmla="*/ 2227808 w 2227808"/>
                <a:gd name="connsiteY0" fmla="*/ 2058102 h 2058102"/>
                <a:gd name="connsiteX1" fmla="*/ 2165969 w 2227808"/>
                <a:gd name="connsiteY1" fmla="*/ 2058102 h 2058102"/>
                <a:gd name="connsiteX2" fmla="*/ 10663 w 2227808"/>
                <a:gd name="connsiteY2" fmla="*/ 555478 h 2058102"/>
                <a:gd name="connsiteX3" fmla="*/ 2 w 2227808"/>
                <a:gd name="connsiteY3" fmla="*/ 548044 h 2058102"/>
                <a:gd name="connsiteX4" fmla="*/ 2 w 2227808"/>
                <a:gd name="connsiteY4" fmla="*/ 548046 h 2058102"/>
                <a:gd name="connsiteX5" fmla="*/ 0 w 2227808"/>
                <a:gd name="connsiteY5" fmla="*/ 548044 h 2058102"/>
                <a:gd name="connsiteX6" fmla="*/ 914119 w 2227808"/>
                <a:gd name="connsiteY6" fmla="*/ 0 h 2058102"/>
                <a:gd name="connsiteX7" fmla="*/ 2227808 w 2227808"/>
                <a:gd name="connsiteY7" fmla="*/ 2058102 h 205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7808" h="2058102">
                  <a:moveTo>
                    <a:pt x="2227808" y="2058102"/>
                  </a:moveTo>
                  <a:lnTo>
                    <a:pt x="2165969" y="2058102"/>
                  </a:lnTo>
                  <a:lnTo>
                    <a:pt x="10663" y="555478"/>
                  </a:lnTo>
                  <a:lnTo>
                    <a:pt x="2" y="548044"/>
                  </a:lnTo>
                  <a:lnTo>
                    <a:pt x="2" y="548046"/>
                  </a:lnTo>
                  <a:lnTo>
                    <a:pt x="0" y="548044"/>
                  </a:lnTo>
                  <a:lnTo>
                    <a:pt x="914119" y="0"/>
                  </a:lnTo>
                  <a:lnTo>
                    <a:pt x="2227808" y="2058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3" name="Полилиния 22"/>
            <p:cNvSpPr/>
            <p:nvPr/>
          </p:nvSpPr>
          <p:spPr>
            <a:xfrm flipH="1" flipV="1">
              <a:off x="8840554" y="3743255"/>
              <a:ext cx="2027259" cy="1576891"/>
            </a:xfrm>
            <a:custGeom>
              <a:avLst/>
              <a:gdLst>
                <a:gd name="connsiteX0" fmla="*/ 2027259 w 2027259"/>
                <a:gd name="connsiteY0" fmla="*/ 1576891 h 1576891"/>
                <a:gd name="connsiteX1" fmla="*/ 0 w 2027259"/>
                <a:gd name="connsiteY1" fmla="*/ 1173530 h 1576891"/>
                <a:gd name="connsiteX2" fmla="*/ 1910002 w 2027259"/>
                <a:gd name="connsiteY2" fmla="*/ 0 h 1576891"/>
                <a:gd name="connsiteX3" fmla="*/ 2027259 w 2027259"/>
                <a:gd name="connsiteY3" fmla="*/ 1576891 h 1576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7259" h="1576891">
                  <a:moveTo>
                    <a:pt x="2027259" y="1576891"/>
                  </a:moveTo>
                  <a:lnTo>
                    <a:pt x="0" y="1173530"/>
                  </a:lnTo>
                  <a:lnTo>
                    <a:pt x="1910002" y="0"/>
                  </a:lnTo>
                  <a:lnTo>
                    <a:pt x="2027259" y="1576891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4" name="Полилиния 23"/>
            <p:cNvSpPr/>
            <p:nvPr/>
          </p:nvSpPr>
          <p:spPr>
            <a:xfrm flipH="1" flipV="1">
              <a:off x="10867816" y="4076155"/>
              <a:ext cx="1324184" cy="1185863"/>
            </a:xfrm>
            <a:custGeom>
              <a:avLst/>
              <a:gdLst>
                <a:gd name="connsiteX0" fmla="*/ 0 w 1324184"/>
                <a:gd name="connsiteY0" fmla="*/ 1185863 h 1185863"/>
                <a:gd name="connsiteX1" fmla="*/ 0 w 1324184"/>
                <a:gd name="connsiteY1" fmla="*/ 0 h 1185863"/>
                <a:gd name="connsiteX2" fmla="*/ 1324184 w 1324184"/>
                <a:gd name="connsiteY2" fmla="*/ 1115401 h 1185863"/>
                <a:gd name="connsiteX3" fmla="*/ 0 w 1324184"/>
                <a:gd name="connsiteY3" fmla="*/ 1185863 h 118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4184" h="1185863">
                  <a:moveTo>
                    <a:pt x="0" y="1185863"/>
                  </a:moveTo>
                  <a:lnTo>
                    <a:pt x="0" y="0"/>
                  </a:lnTo>
                  <a:lnTo>
                    <a:pt x="1324184" y="1115401"/>
                  </a:lnTo>
                  <a:lnTo>
                    <a:pt x="0" y="118586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0" name="Полилиния 29"/>
            <p:cNvSpPr/>
            <p:nvPr/>
          </p:nvSpPr>
          <p:spPr>
            <a:xfrm>
              <a:off x="8059213" y="5320148"/>
              <a:ext cx="1367162" cy="1537853"/>
            </a:xfrm>
            <a:custGeom>
              <a:avLst/>
              <a:gdLst>
                <a:gd name="connsiteX0" fmla="*/ 890680 w 1367162"/>
                <a:gd name="connsiteY0" fmla="*/ 0 h 1537853"/>
                <a:gd name="connsiteX1" fmla="*/ 899136 w 1367162"/>
                <a:gd name="connsiteY1" fmla="*/ 1766 h 1537853"/>
                <a:gd name="connsiteX2" fmla="*/ 1367162 w 1367162"/>
                <a:gd name="connsiteY2" fmla="*/ 1537853 h 1537853"/>
                <a:gd name="connsiteX3" fmla="*/ 0 w 1367162"/>
                <a:gd name="connsiteY3" fmla="*/ 1537853 h 1537853"/>
                <a:gd name="connsiteX4" fmla="*/ 890680 w 1367162"/>
                <a:gd name="connsiteY4" fmla="*/ 0 h 1537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7162" h="1537853">
                  <a:moveTo>
                    <a:pt x="890680" y="0"/>
                  </a:moveTo>
                  <a:lnTo>
                    <a:pt x="899136" y="1766"/>
                  </a:lnTo>
                  <a:lnTo>
                    <a:pt x="1367162" y="1537853"/>
                  </a:lnTo>
                  <a:lnTo>
                    <a:pt x="0" y="1537853"/>
                  </a:lnTo>
                  <a:lnTo>
                    <a:pt x="89068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67" name="Прямоугольный треугольник 61"/>
            <p:cNvSpPr/>
            <p:nvPr userDrawn="1"/>
          </p:nvSpPr>
          <p:spPr>
            <a:xfrm rot="5400000">
              <a:off x="-76845" y="861310"/>
              <a:ext cx="1068088" cy="914400"/>
            </a:xfrm>
            <a:custGeom>
              <a:avLst/>
              <a:gdLst>
                <a:gd name="connsiteX0" fmla="*/ 0 w 961901"/>
                <a:gd name="connsiteY0" fmla="*/ 1318161 h 1318161"/>
                <a:gd name="connsiteX1" fmla="*/ 0 w 961901"/>
                <a:gd name="connsiteY1" fmla="*/ 0 h 1318161"/>
                <a:gd name="connsiteX2" fmla="*/ 961901 w 961901"/>
                <a:gd name="connsiteY2" fmla="*/ 1318161 h 1318161"/>
                <a:gd name="connsiteX3" fmla="*/ 0 w 961901"/>
                <a:gd name="connsiteY3" fmla="*/ 1318161 h 1318161"/>
                <a:gd name="connsiteX0" fmla="*/ 1104405 w 1104405"/>
                <a:gd name="connsiteY0" fmla="*/ 35626 h 1318161"/>
                <a:gd name="connsiteX1" fmla="*/ 0 w 1104405"/>
                <a:gd name="connsiteY1" fmla="*/ 0 h 1318161"/>
                <a:gd name="connsiteX2" fmla="*/ 961901 w 1104405"/>
                <a:gd name="connsiteY2" fmla="*/ 1318161 h 1318161"/>
                <a:gd name="connsiteX3" fmla="*/ 1104405 w 1104405"/>
                <a:gd name="connsiteY3" fmla="*/ 35626 h 1318161"/>
                <a:gd name="connsiteX0" fmla="*/ 142504 w 890650"/>
                <a:gd name="connsiteY0" fmla="*/ 0 h 1282535"/>
                <a:gd name="connsiteX1" fmla="*/ 890650 w 890650"/>
                <a:gd name="connsiteY1" fmla="*/ 368135 h 1282535"/>
                <a:gd name="connsiteX2" fmla="*/ 0 w 890650"/>
                <a:gd name="connsiteY2" fmla="*/ 1282535 h 1282535"/>
                <a:gd name="connsiteX3" fmla="*/ 142504 w 890650"/>
                <a:gd name="connsiteY3" fmla="*/ 0 h 1282535"/>
                <a:gd name="connsiteX0" fmla="*/ 0 w 1072851"/>
                <a:gd name="connsiteY0" fmla="*/ 187970 h 914400"/>
                <a:gd name="connsiteX1" fmla="*/ 1072851 w 1072851"/>
                <a:gd name="connsiteY1" fmla="*/ 0 h 914400"/>
                <a:gd name="connsiteX2" fmla="*/ 182201 w 1072851"/>
                <a:gd name="connsiteY2" fmla="*/ 914400 h 914400"/>
                <a:gd name="connsiteX3" fmla="*/ 0 w 1072851"/>
                <a:gd name="connsiteY3" fmla="*/ 187970 h 914400"/>
                <a:gd name="connsiteX0" fmla="*/ 0 w 1068088"/>
                <a:gd name="connsiteY0" fmla="*/ 197495 h 914400"/>
                <a:gd name="connsiteX1" fmla="*/ 1068088 w 1068088"/>
                <a:gd name="connsiteY1" fmla="*/ 0 h 914400"/>
                <a:gd name="connsiteX2" fmla="*/ 177438 w 1068088"/>
                <a:gd name="connsiteY2" fmla="*/ 914400 h 914400"/>
                <a:gd name="connsiteX3" fmla="*/ 0 w 1068088"/>
                <a:gd name="connsiteY3" fmla="*/ 197495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8088" h="914400">
                  <a:moveTo>
                    <a:pt x="0" y="197495"/>
                  </a:moveTo>
                  <a:lnTo>
                    <a:pt x="1068088" y="0"/>
                  </a:lnTo>
                  <a:lnTo>
                    <a:pt x="177438" y="914400"/>
                  </a:lnTo>
                  <a:lnTo>
                    <a:pt x="0" y="19749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ru-RU" dirty="0"/>
            </a:p>
          </p:txBody>
        </p:sp>
        <p:sp>
          <p:nvSpPr>
            <p:cNvPr id="77" name="Полилиния 76"/>
            <p:cNvSpPr/>
            <p:nvPr userDrawn="1"/>
          </p:nvSpPr>
          <p:spPr>
            <a:xfrm flipV="1">
              <a:off x="712852" y="-1"/>
              <a:ext cx="2144047" cy="787875"/>
            </a:xfrm>
            <a:custGeom>
              <a:avLst/>
              <a:gdLst>
                <a:gd name="connsiteX0" fmla="*/ 35757 w 1574365"/>
                <a:gd name="connsiteY0" fmla="*/ 1104406 h 1104406"/>
                <a:gd name="connsiteX1" fmla="*/ 1574365 w 1574365"/>
                <a:gd name="connsiteY1" fmla="*/ 1104406 h 1104406"/>
                <a:gd name="connsiteX2" fmla="*/ 0 w 1574365"/>
                <a:gd name="connsiteY2" fmla="*/ 0 h 1104406"/>
                <a:gd name="connsiteX3" fmla="*/ 35626 w 1574365"/>
                <a:gd name="connsiteY3" fmla="*/ 1104405 h 1104406"/>
                <a:gd name="connsiteX4" fmla="*/ 35757 w 1574365"/>
                <a:gd name="connsiteY4" fmla="*/ 1104406 h 1104406"/>
                <a:gd name="connsiteX0" fmla="*/ 603058 w 2141666"/>
                <a:gd name="connsiteY0" fmla="*/ 775969 h 775969"/>
                <a:gd name="connsiteX1" fmla="*/ 2141666 w 2141666"/>
                <a:gd name="connsiteY1" fmla="*/ 775969 h 775969"/>
                <a:gd name="connsiteX2" fmla="*/ 0 w 2141666"/>
                <a:gd name="connsiteY2" fmla="*/ 0 h 775969"/>
                <a:gd name="connsiteX3" fmla="*/ 602927 w 2141666"/>
                <a:gd name="connsiteY3" fmla="*/ 775968 h 775969"/>
                <a:gd name="connsiteX4" fmla="*/ 603058 w 2141666"/>
                <a:gd name="connsiteY4" fmla="*/ 775969 h 775969"/>
                <a:gd name="connsiteX0" fmla="*/ 595914 w 2134522"/>
                <a:gd name="connsiteY0" fmla="*/ 778350 h 778350"/>
                <a:gd name="connsiteX1" fmla="*/ 2134522 w 2134522"/>
                <a:gd name="connsiteY1" fmla="*/ 778350 h 778350"/>
                <a:gd name="connsiteX2" fmla="*/ 0 w 2134522"/>
                <a:gd name="connsiteY2" fmla="*/ 0 h 778350"/>
                <a:gd name="connsiteX3" fmla="*/ 595783 w 2134522"/>
                <a:gd name="connsiteY3" fmla="*/ 778349 h 778350"/>
                <a:gd name="connsiteX4" fmla="*/ 595914 w 2134522"/>
                <a:gd name="connsiteY4" fmla="*/ 778350 h 778350"/>
                <a:gd name="connsiteX0" fmla="*/ 605439 w 2144047"/>
                <a:gd name="connsiteY0" fmla="*/ 787875 h 787875"/>
                <a:gd name="connsiteX1" fmla="*/ 2144047 w 2144047"/>
                <a:gd name="connsiteY1" fmla="*/ 787875 h 787875"/>
                <a:gd name="connsiteX2" fmla="*/ 0 w 2144047"/>
                <a:gd name="connsiteY2" fmla="*/ 0 h 787875"/>
                <a:gd name="connsiteX3" fmla="*/ 605308 w 2144047"/>
                <a:gd name="connsiteY3" fmla="*/ 787874 h 787875"/>
                <a:gd name="connsiteX4" fmla="*/ 605439 w 2144047"/>
                <a:gd name="connsiteY4" fmla="*/ 787875 h 787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4047" h="787875">
                  <a:moveTo>
                    <a:pt x="605439" y="787875"/>
                  </a:moveTo>
                  <a:lnTo>
                    <a:pt x="2144047" y="787875"/>
                  </a:lnTo>
                  <a:lnTo>
                    <a:pt x="0" y="0"/>
                  </a:lnTo>
                  <a:lnTo>
                    <a:pt x="605308" y="787874"/>
                  </a:lnTo>
                  <a:lnTo>
                    <a:pt x="605439" y="78787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ru-RU" dirty="0"/>
            </a:p>
          </p:txBody>
        </p:sp>
      </p:grpSp>
      <p:sp>
        <p:nvSpPr>
          <p:cNvPr id="83" name="Прямоугольный треугольник 82"/>
          <p:cNvSpPr/>
          <p:nvPr userDrawn="1"/>
        </p:nvSpPr>
        <p:spPr>
          <a:xfrm rot="5400000">
            <a:off x="4080056" y="-1223156"/>
            <a:ext cx="570018" cy="3016332"/>
          </a:xfrm>
          <a:custGeom>
            <a:avLst/>
            <a:gdLst>
              <a:gd name="connsiteX0" fmla="*/ 0 w 961901"/>
              <a:gd name="connsiteY0" fmla="*/ 3016332 h 3016332"/>
              <a:gd name="connsiteX1" fmla="*/ 0 w 961901"/>
              <a:gd name="connsiteY1" fmla="*/ 0 h 3016332"/>
              <a:gd name="connsiteX2" fmla="*/ 961901 w 961901"/>
              <a:gd name="connsiteY2" fmla="*/ 3016332 h 3016332"/>
              <a:gd name="connsiteX3" fmla="*/ 0 w 961901"/>
              <a:gd name="connsiteY3" fmla="*/ 3016332 h 3016332"/>
              <a:gd name="connsiteX0" fmla="*/ 0 w 498763"/>
              <a:gd name="connsiteY0" fmla="*/ 3016332 h 3016332"/>
              <a:gd name="connsiteX1" fmla="*/ 0 w 498763"/>
              <a:gd name="connsiteY1" fmla="*/ 0 h 3016332"/>
              <a:gd name="connsiteX2" fmla="*/ 498763 w 498763"/>
              <a:gd name="connsiteY2" fmla="*/ 605638 h 3016332"/>
              <a:gd name="connsiteX3" fmla="*/ 0 w 498763"/>
              <a:gd name="connsiteY3" fmla="*/ 3016332 h 3016332"/>
              <a:gd name="connsiteX0" fmla="*/ 0 w 570018"/>
              <a:gd name="connsiteY0" fmla="*/ 3016332 h 3016332"/>
              <a:gd name="connsiteX1" fmla="*/ 0 w 570018"/>
              <a:gd name="connsiteY1" fmla="*/ 0 h 3016332"/>
              <a:gd name="connsiteX2" fmla="*/ 570018 w 570018"/>
              <a:gd name="connsiteY2" fmla="*/ 973771 h 3016332"/>
              <a:gd name="connsiteX3" fmla="*/ 0 w 570018"/>
              <a:gd name="connsiteY3" fmla="*/ 3016332 h 301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018" h="3016332">
                <a:moveTo>
                  <a:pt x="0" y="3016332"/>
                </a:moveTo>
                <a:lnTo>
                  <a:pt x="0" y="0"/>
                </a:lnTo>
                <a:lnTo>
                  <a:pt x="570018" y="973771"/>
                </a:lnTo>
                <a:lnTo>
                  <a:pt x="0" y="3016332"/>
                </a:lnTo>
                <a:close/>
              </a:path>
            </a:pathLst>
          </a:custGeom>
          <a:solidFill>
            <a:schemeClr val="tx2">
              <a:lumMod val="60000"/>
              <a:lumOff val="40000"/>
              <a:alpha val="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dirty="0"/>
          </a:p>
        </p:txBody>
      </p:sp>
      <p:sp>
        <p:nvSpPr>
          <p:cNvPr id="86" name="Прямоугольный треугольник 82"/>
          <p:cNvSpPr/>
          <p:nvPr userDrawn="1"/>
        </p:nvSpPr>
        <p:spPr>
          <a:xfrm rot="6300000">
            <a:off x="2624719" y="918806"/>
            <a:ext cx="1234903" cy="2034982"/>
          </a:xfrm>
          <a:custGeom>
            <a:avLst/>
            <a:gdLst>
              <a:gd name="connsiteX0" fmla="*/ 0 w 961901"/>
              <a:gd name="connsiteY0" fmla="*/ 3016332 h 3016332"/>
              <a:gd name="connsiteX1" fmla="*/ 0 w 961901"/>
              <a:gd name="connsiteY1" fmla="*/ 0 h 3016332"/>
              <a:gd name="connsiteX2" fmla="*/ 961901 w 961901"/>
              <a:gd name="connsiteY2" fmla="*/ 3016332 h 3016332"/>
              <a:gd name="connsiteX3" fmla="*/ 0 w 961901"/>
              <a:gd name="connsiteY3" fmla="*/ 3016332 h 3016332"/>
              <a:gd name="connsiteX0" fmla="*/ 0 w 498763"/>
              <a:gd name="connsiteY0" fmla="*/ 3016332 h 3016332"/>
              <a:gd name="connsiteX1" fmla="*/ 0 w 498763"/>
              <a:gd name="connsiteY1" fmla="*/ 0 h 3016332"/>
              <a:gd name="connsiteX2" fmla="*/ 498763 w 498763"/>
              <a:gd name="connsiteY2" fmla="*/ 605638 h 3016332"/>
              <a:gd name="connsiteX3" fmla="*/ 0 w 498763"/>
              <a:gd name="connsiteY3" fmla="*/ 3016332 h 3016332"/>
              <a:gd name="connsiteX0" fmla="*/ 0 w 570018"/>
              <a:gd name="connsiteY0" fmla="*/ 3016332 h 3016332"/>
              <a:gd name="connsiteX1" fmla="*/ 0 w 570018"/>
              <a:gd name="connsiteY1" fmla="*/ 0 h 3016332"/>
              <a:gd name="connsiteX2" fmla="*/ 570018 w 570018"/>
              <a:gd name="connsiteY2" fmla="*/ 973771 h 3016332"/>
              <a:gd name="connsiteX3" fmla="*/ 0 w 570018"/>
              <a:gd name="connsiteY3" fmla="*/ 3016332 h 3016332"/>
              <a:gd name="connsiteX0" fmla="*/ 1033153 w 1603171"/>
              <a:gd name="connsiteY0" fmla="*/ 3025908 h 3025908"/>
              <a:gd name="connsiteX1" fmla="*/ 0 w 1603171"/>
              <a:gd name="connsiteY1" fmla="*/ 0 h 3025908"/>
              <a:gd name="connsiteX2" fmla="*/ 1603171 w 1603171"/>
              <a:gd name="connsiteY2" fmla="*/ 983347 h 3025908"/>
              <a:gd name="connsiteX3" fmla="*/ 1033153 w 1603171"/>
              <a:gd name="connsiteY3" fmla="*/ 3025908 h 3025908"/>
              <a:gd name="connsiteX0" fmla="*/ 1033153 w 2101935"/>
              <a:gd name="connsiteY0" fmla="*/ 3025908 h 3025908"/>
              <a:gd name="connsiteX1" fmla="*/ 0 w 2101935"/>
              <a:gd name="connsiteY1" fmla="*/ 0 h 3025908"/>
              <a:gd name="connsiteX2" fmla="*/ 2101935 w 2101935"/>
              <a:gd name="connsiteY2" fmla="*/ 715228 h 3025908"/>
              <a:gd name="connsiteX3" fmla="*/ 1033153 w 2101935"/>
              <a:gd name="connsiteY3" fmla="*/ 3025908 h 3025908"/>
              <a:gd name="connsiteX0" fmla="*/ 1033153 w 2303815"/>
              <a:gd name="connsiteY0" fmla="*/ 3025908 h 3025908"/>
              <a:gd name="connsiteX1" fmla="*/ 0 w 2303815"/>
              <a:gd name="connsiteY1" fmla="*/ 0 h 3025908"/>
              <a:gd name="connsiteX2" fmla="*/ 2303815 w 2303815"/>
              <a:gd name="connsiteY2" fmla="*/ 657775 h 3025908"/>
              <a:gd name="connsiteX3" fmla="*/ 1033153 w 2303815"/>
              <a:gd name="connsiteY3" fmla="*/ 3025908 h 3025908"/>
              <a:gd name="connsiteX0" fmla="*/ 1 w 2404789"/>
              <a:gd name="connsiteY0" fmla="*/ 2899166 h 2899165"/>
              <a:gd name="connsiteX1" fmla="*/ 100974 w 2404789"/>
              <a:gd name="connsiteY1" fmla="*/ 0 h 2899165"/>
              <a:gd name="connsiteX2" fmla="*/ 2404789 w 2404789"/>
              <a:gd name="connsiteY2" fmla="*/ 657775 h 2899165"/>
              <a:gd name="connsiteX3" fmla="*/ 1 w 2404789"/>
              <a:gd name="connsiteY3" fmla="*/ 2899166 h 2899165"/>
              <a:gd name="connsiteX0" fmla="*/ -1 w 2437499"/>
              <a:gd name="connsiteY0" fmla="*/ 3238883 h 3238883"/>
              <a:gd name="connsiteX1" fmla="*/ 133684 w 2437499"/>
              <a:gd name="connsiteY1" fmla="*/ 0 h 3238883"/>
              <a:gd name="connsiteX2" fmla="*/ 2437499 w 2437499"/>
              <a:gd name="connsiteY2" fmla="*/ 657775 h 3238883"/>
              <a:gd name="connsiteX3" fmla="*/ -1 w 2437499"/>
              <a:gd name="connsiteY3" fmla="*/ 3238883 h 3238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7499" h="3238883">
                <a:moveTo>
                  <a:pt x="-1" y="3238883"/>
                </a:moveTo>
                <a:lnTo>
                  <a:pt x="133684" y="0"/>
                </a:lnTo>
                <a:lnTo>
                  <a:pt x="2437499" y="657775"/>
                </a:lnTo>
                <a:lnTo>
                  <a:pt x="-1" y="3238883"/>
                </a:lnTo>
                <a:close/>
              </a:path>
            </a:pathLst>
          </a:custGeom>
          <a:solidFill>
            <a:schemeClr val="bg1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dirty="0"/>
          </a:p>
        </p:txBody>
      </p:sp>
      <p:sp>
        <p:nvSpPr>
          <p:cNvPr id="87" name="Прямоугольный треугольник 82"/>
          <p:cNvSpPr/>
          <p:nvPr userDrawn="1"/>
        </p:nvSpPr>
        <p:spPr>
          <a:xfrm rot="16200000">
            <a:off x="1735824" y="4366209"/>
            <a:ext cx="755967" cy="4227616"/>
          </a:xfrm>
          <a:custGeom>
            <a:avLst/>
            <a:gdLst>
              <a:gd name="connsiteX0" fmla="*/ 0 w 961901"/>
              <a:gd name="connsiteY0" fmla="*/ 3016332 h 3016332"/>
              <a:gd name="connsiteX1" fmla="*/ 0 w 961901"/>
              <a:gd name="connsiteY1" fmla="*/ 0 h 3016332"/>
              <a:gd name="connsiteX2" fmla="*/ 961901 w 961901"/>
              <a:gd name="connsiteY2" fmla="*/ 3016332 h 3016332"/>
              <a:gd name="connsiteX3" fmla="*/ 0 w 961901"/>
              <a:gd name="connsiteY3" fmla="*/ 3016332 h 3016332"/>
              <a:gd name="connsiteX0" fmla="*/ 0 w 498763"/>
              <a:gd name="connsiteY0" fmla="*/ 3016332 h 3016332"/>
              <a:gd name="connsiteX1" fmla="*/ 0 w 498763"/>
              <a:gd name="connsiteY1" fmla="*/ 0 h 3016332"/>
              <a:gd name="connsiteX2" fmla="*/ 498763 w 498763"/>
              <a:gd name="connsiteY2" fmla="*/ 605638 h 3016332"/>
              <a:gd name="connsiteX3" fmla="*/ 0 w 498763"/>
              <a:gd name="connsiteY3" fmla="*/ 3016332 h 3016332"/>
              <a:gd name="connsiteX0" fmla="*/ 0 w 570018"/>
              <a:gd name="connsiteY0" fmla="*/ 3016332 h 3016332"/>
              <a:gd name="connsiteX1" fmla="*/ 0 w 570018"/>
              <a:gd name="connsiteY1" fmla="*/ 0 h 3016332"/>
              <a:gd name="connsiteX2" fmla="*/ 570018 w 570018"/>
              <a:gd name="connsiteY2" fmla="*/ 973771 h 3016332"/>
              <a:gd name="connsiteX3" fmla="*/ 0 w 570018"/>
              <a:gd name="connsiteY3" fmla="*/ 3016332 h 301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018" h="3016332">
                <a:moveTo>
                  <a:pt x="0" y="3016332"/>
                </a:moveTo>
                <a:lnTo>
                  <a:pt x="0" y="0"/>
                </a:lnTo>
                <a:lnTo>
                  <a:pt x="570018" y="973771"/>
                </a:lnTo>
                <a:lnTo>
                  <a:pt x="0" y="3016332"/>
                </a:lnTo>
                <a:close/>
              </a:path>
            </a:pathLst>
          </a:custGeom>
          <a:solidFill>
            <a:schemeClr val="tx2">
              <a:lumMod val="60000"/>
              <a:lumOff val="4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dirty="0"/>
          </a:p>
        </p:txBody>
      </p:sp>
      <p:sp>
        <p:nvSpPr>
          <p:cNvPr id="88" name="Прямоугольный треугольник 82"/>
          <p:cNvSpPr/>
          <p:nvPr userDrawn="1"/>
        </p:nvSpPr>
        <p:spPr>
          <a:xfrm rot="15696469">
            <a:off x="7922846" y="118989"/>
            <a:ext cx="1632068" cy="2689462"/>
          </a:xfrm>
          <a:custGeom>
            <a:avLst/>
            <a:gdLst>
              <a:gd name="connsiteX0" fmla="*/ 0 w 961901"/>
              <a:gd name="connsiteY0" fmla="*/ 3016332 h 3016332"/>
              <a:gd name="connsiteX1" fmla="*/ 0 w 961901"/>
              <a:gd name="connsiteY1" fmla="*/ 0 h 3016332"/>
              <a:gd name="connsiteX2" fmla="*/ 961901 w 961901"/>
              <a:gd name="connsiteY2" fmla="*/ 3016332 h 3016332"/>
              <a:gd name="connsiteX3" fmla="*/ 0 w 961901"/>
              <a:gd name="connsiteY3" fmla="*/ 3016332 h 3016332"/>
              <a:gd name="connsiteX0" fmla="*/ 0 w 498763"/>
              <a:gd name="connsiteY0" fmla="*/ 3016332 h 3016332"/>
              <a:gd name="connsiteX1" fmla="*/ 0 w 498763"/>
              <a:gd name="connsiteY1" fmla="*/ 0 h 3016332"/>
              <a:gd name="connsiteX2" fmla="*/ 498763 w 498763"/>
              <a:gd name="connsiteY2" fmla="*/ 605638 h 3016332"/>
              <a:gd name="connsiteX3" fmla="*/ 0 w 498763"/>
              <a:gd name="connsiteY3" fmla="*/ 3016332 h 3016332"/>
              <a:gd name="connsiteX0" fmla="*/ 0 w 570018"/>
              <a:gd name="connsiteY0" fmla="*/ 3016332 h 3016332"/>
              <a:gd name="connsiteX1" fmla="*/ 0 w 570018"/>
              <a:gd name="connsiteY1" fmla="*/ 0 h 3016332"/>
              <a:gd name="connsiteX2" fmla="*/ 570018 w 570018"/>
              <a:gd name="connsiteY2" fmla="*/ 973771 h 3016332"/>
              <a:gd name="connsiteX3" fmla="*/ 0 w 570018"/>
              <a:gd name="connsiteY3" fmla="*/ 3016332 h 3016332"/>
              <a:gd name="connsiteX0" fmla="*/ 1033153 w 1603171"/>
              <a:gd name="connsiteY0" fmla="*/ 3025908 h 3025908"/>
              <a:gd name="connsiteX1" fmla="*/ 0 w 1603171"/>
              <a:gd name="connsiteY1" fmla="*/ 0 h 3025908"/>
              <a:gd name="connsiteX2" fmla="*/ 1603171 w 1603171"/>
              <a:gd name="connsiteY2" fmla="*/ 983347 h 3025908"/>
              <a:gd name="connsiteX3" fmla="*/ 1033153 w 1603171"/>
              <a:gd name="connsiteY3" fmla="*/ 3025908 h 3025908"/>
              <a:gd name="connsiteX0" fmla="*/ 1033153 w 2101935"/>
              <a:gd name="connsiteY0" fmla="*/ 3025908 h 3025908"/>
              <a:gd name="connsiteX1" fmla="*/ 0 w 2101935"/>
              <a:gd name="connsiteY1" fmla="*/ 0 h 3025908"/>
              <a:gd name="connsiteX2" fmla="*/ 2101935 w 2101935"/>
              <a:gd name="connsiteY2" fmla="*/ 715228 h 3025908"/>
              <a:gd name="connsiteX3" fmla="*/ 1033153 w 2101935"/>
              <a:gd name="connsiteY3" fmla="*/ 3025908 h 3025908"/>
              <a:gd name="connsiteX0" fmla="*/ 1033153 w 2303815"/>
              <a:gd name="connsiteY0" fmla="*/ 3025908 h 3025908"/>
              <a:gd name="connsiteX1" fmla="*/ 0 w 2303815"/>
              <a:gd name="connsiteY1" fmla="*/ 0 h 3025908"/>
              <a:gd name="connsiteX2" fmla="*/ 2303815 w 2303815"/>
              <a:gd name="connsiteY2" fmla="*/ 657775 h 3025908"/>
              <a:gd name="connsiteX3" fmla="*/ 1033153 w 2303815"/>
              <a:gd name="connsiteY3" fmla="*/ 3025908 h 3025908"/>
              <a:gd name="connsiteX0" fmla="*/ 1 w 2404789"/>
              <a:gd name="connsiteY0" fmla="*/ 2899166 h 2899165"/>
              <a:gd name="connsiteX1" fmla="*/ 100974 w 2404789"/>
              <a:gd name="connsiteY1" fmla="*/ 0 h 2899165"/>
              <a:gd name="connsiteX2" fmla="*/ 2404789 w 2404789"/>
              <a:gd name="connsiteY2" fmla="*/ 657775 h 2899165"/>
              <a:gd name="connsiteX3" fmla="*/ 1 w 2404789"/>
              <a:gd name="connsiteY3" fmla="*/ 2899166 h 2899165"/>
              <a:gd name="connsiteX0" fmla="*/ -1 w 2437499"/>
              <a:gd name="connsiteY0" fmla="*/ 3238883 h 3238883"/>
              <a:gd name="connsiteX1" fmla="*/ 133684 w 2437499"/>
              <a:gd name="connsiteY1" fmla="*/ 0 h 3238883"/>
              <a:gd name="connsiteX2" fmla="*/ 2437499 w 2437499"/>
              <a:gd name="connsiteY2" fmla="*/ 657775 h 3238883"/>
              <a:gd name="connsiteX3" fmla="*/ -1 w 2437499"/>
              <a:gd name="connsiteY3" fmla="*/ 3238883 h 3238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7499" h="3238883">
                <a:moveTo>
                  <a:pt x="-1" y="3238883"/>
                </a:moveTo>
                <a:lnTo>
                  <a:pt x="133684" y="0"/>
                </a:lnTo>
                <a:lnTo>
                  <a:pt x="2437499" y="657775"/>
                </a:lnTo>
                <a:lnTo>
                  <a:pt x="-1" y="3238883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dirty="0"/>
          </a:p>
        </p:txBody>
      </p:sp>
      <p:sp>
        <p:nvSpPr>
          <p:cNvPr id="89" name="Прямоугольный треугольник 82"/>
          <p:cNvSpPr/>
          <p:nvPr userDrawn="1"/>
        </p:nvSpPr>
        <p:spPr>
          <a:xfrm rot="5400000">
            <a:off x="6969988" y="-1096757"/>
            <a:ext cx="800604" cy="2994122"/>
          </a:xfrm>
          <a:custGeom>
            <a:avLst/>
            <a:gdLst>
              <a:gd name="connsiteX0" fmla="*/ 0 w 961901"/>
              <a:gd name="connsiteY0" fmla="*/ 3016332 h 3016332"/>
              <a:gd name="connsiteX1" fmla="*/ 0 w 961901"/>
              <a:gd name="connsiteY1" fmla="*/ 0 h 3016332"/>
              <a:gd name="connsiteX2" fmla="*/ 961901 w 961901"/>
              <a:gd name="connsiteY2" fmla="*/ 3016332 h 3016332"/>
              <a:gd name="connsiteX3" fmla="*/ 0 w 961901"/>
              <a:gd name="connsiteY3" fmla="*/ 3016332 h 3016332"/>
              <a:gd name="connsiteX0" fmla="*/ 0 w 498763"/>
              <a:gd name="connsiteY0" fmla="*/ 3016332 h 3016332"/>
              <a:gd name="connsiteX1" fmla="*/ 0 w 498763"/>
              <a:gd name="connsiteY1" fmla="*/ 0 h 3016332"/>
              <a:gd name="connsiteX2" fmla="*/ 498763 w 498763"/>
              <a:gd name="connsiteY2" fmla="*/ 605638 h 3016332"/>
              <a:gd name="connsiteX3" fmla="*/ 0 w 498763"/>
              <a:gd name="connsiteY3" fmla="*/ 3016332 h 3016332"/>
              <a:gd name="connsiteX0" fmla="*/ 0 w 570018"/>
              <a:gd name="connsiteY0" fmla="*/ 3016332 h 3016332"/>
              <a:gd name="connsiteX1" fmla="*/ 0 w 570018"/>
              <a:gd name="connsiteY1" fmla="*/ 0 h 3016332"/>
              <a:gd name="connsiteX2" fmla="*/ 570018 w 570018"/>
              <a:gd name="connsiteY2" fmla="*/ 973771 h 3016332"/>
              <a:gd name="connsiteX3" fmla="*/ 0 w 570018"/>
              <a:gd name="connsiteY3" fmla="*/ 3016332 h 3016332"/>
              <a:gd name="connsiteX0" fmla="*/ 0 w 581745"/>
              <a:gd name="connsiteY0" fmla="*/ 3016332 h 3016332"/>
              <a:gd name="connsiteX1" fmla="*/ 0 w 581745"/>
              <a:gd name="connsiteY1" fmla="*/ 0 h 3016332"/>
              <a:gd name="connsiteX2" fmla="*/ 581745 w 581745"/>
              <a:gd name="connsiteY2" fmla="*/ 1044212 h 3016332"/>
              <a:gd name="connsiteX3" fmla="*/ 0 w 581745"/>
              <a:gd name="connsiteY3" fmla="*/ 3016332 h 301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45" h="3016332">
                <a:moveTo>
                  <a:pt x="0" y="3016332"/>
                </a:moveTo>
                <a:lnTo>
                  <a:pt x="0" y="0"/>
                </a:lnTo>
                <a:lnTo>
                  <a:pt x="581745" y="1044212"/>
                </a:lnTo>
                <a:lnTo>
                  <a:pt x="0" y="3016332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dirty="0"/>
          </a:p>
        </p:txBody>
      </p:sp>
      <p:sp>
        <p:nvSpPr>
          <p:cNvPr id="90" name="Прямоугольный треугольник 82"/>
          <p:cNvSpPr/>
          <p:nvPr userDrawn="1"/>
        </p:nvSpPr>
        <p:spPr>
          <a:xfrm rot="15696469">
            <a:off x="6915237" y="3560367"/>
            <a:ext cx="1709300" cy="2150478"/>
          </a:xfrm>
          <a:custGeom>
            <a:avLst/>
            <a:gdLst>
              <a:gd name="connsiteX0" fmla="*/ 0 w 961901"/>
              <a:gd name="connsiteY0" fmla="*/ 3016332 h 3016332"/>
              <a:gd name="connsiteX1" fmla="*/ 0 w 961901"/>
              <a:gd name="connsiteY1" fmla="*/ 0 h 3016332"/>
              <a:gd name="connsiteX2" fmla="*/ 961901 w 961901"/>
              <a:gd name="connsiteY2" fmla="*/ 3016332 h 3016332"/>
              <a:gd name="connsiteX3" fmla="*/ 0 w 961901"/>
              <a:gd name="connsiteY3" fmla="*/ 3016332 h 3016332"/>
              <a:gd name="connsiteX0" fmla="*/ 0 w 498763"/>
              <a:gd name="connsiteY0" fmla="*/ 3016332 h 3016332"/>
              <a:gd name="connsiteX1" fmla="*/ 0 w 498763"/>
              <a:gd name="connsiteY1" fmla="*/ 0 h 3016332"/>
              <a:gd name="connsiteX2" fmla="*/ 498763 w 498763"/>
              <a:gd name="connsiteY2" fmla="*/ 605638 h 3016332"/>
              <a:gd name="connsiteX3" fmla="*/ 0 w 498763"/>
              <a:gd name="connsiteY3" fmla="*/ 3016332 h 3016332"/>
              <a:gd name="connsiteX0" fmla="*/ 0 w 570018"/>
              <a:gd name="connsiteY0" fmla="*/ 3016332 h 3016332"/>
              <a:gd name="connsiteX1" fmla="*/ 0 w 570018"/>
              <a:gd name="connsiteY1" fmla="*/ 0 h 3016332"/>
              <a:gd name="connsiteX2" fmla="*/ 570018 w 570018"/>
              <a:gd name="connsiteY2" fmla="*/ 973771 h 3016332"/>
              <a:gd name="connsiteX3" fmla="*/ 0 w 570018"/>
              <a:gd name="connsiteY3" fmla="*/ 3016332 h 3016332"/>
              <a:gd name="connsiteX0" fmla="*/ 1033153 w 1603171"/>
              <a:gd name="connsiteY0" fmla="*/ 3025908 h 3025908"/>
              <a:gd name="connsiteX1" fmla="*/ 0 w 1603171"/>
              <a:gd name="connsiteY1" fmla="*/ 0 h 3025908"/>
              <a:gd name="connsiteX2" fmla="*/ 1603171 w 1603171"/>
              <a:gd name="connsiteY2" fmla="*/ 983347 h 3025908"/>
              <a:gd name="connsiteX3" fmla="*/ 1033153 w 1603171"/>
              <a:gd name="connsiteY3" fmla="*/ 3025908 h 3025908"/>
              <a:gd name="connsiteX0" fmla="*/ 1033153 w 2101935"/>
              <a:gd name="connsiteY0" fmla="*/ 3025908 h 3025908"/>
              <a:gd name="connsiteX1" fmla="*/ 0 w 2101935"/>
              <a:gd name="connsiteY1" fmla="*/ 0 h 3025908"/>
              <a:gd name="connsiteX2" fmla="*/ 2101935 w 2101935"/>
              <a:gd name="connsiteY2" fmla="*/ 715228 h 3025908"/>
              <a:gd name="connsiteX3" fmla="*/ 1033153 w 2101935"/>
              <a:gd name="connsiteY3" fmla="*/ 3025908 h 3025908"/>
              <a:gd name="connsiteX0" fmla="*/ 1033153 w 2303815"/>
              <a:gd name="connsiteY0" fmla="*/ 3025908 h 3025908"/>
              <a:gd name="connsiteX1" fmla="*/ 0 w 2303815"/>
              <a:gd name="connsiteY1" fmla="*/ 0 h 3025908"/>
              <a:gd name="connsiteX2" fmla="*/ 2303815 w 2303815"/>
              <a:gd name="connsiteY2" fmla="*/ 657775 h 3025908"/>
              <a:gd name="connsiteX3" fmla="*/ 1033153 w 2303815"/>
              <a:gd name="connsiteY3" fmla="*/ 3025908 h 3025908"/>
              <a:gd name="connsiteX0" fmla="*/ 1 w 2404789"/>
              <a:gd name="connsiteY0" fmla="*/ 2899166 h 2899165"/>
              <a:gd name="connsiteX1" fmla="*/ 100974 w 2404789"/>
              <a:gd name="connsiteY1" fmla="*/ 0 h 2899165"/>
              <a:gd name="connsiteX2" fmla="*/ 2404789 w 2404789"/>
              <a:gd name="connsiteY2" fmla="*/ 657775 h 2899165"/>
              <a:gd name="connsiteX3" fmla="*/ 1 w 2404789"/>
              <a:gd name="connsiteY3" fmla="*/ 2899166 h 2899165"/>
              <a:gd name="connsiteX0" fmla="*/ -1 w 2437499"/>
              <a:gd name="connsiteY0" fmla="*/ 3238883 h 3238883"/>
              <a:gd name="connsiteX1" fmla="*/ 133684 w 2437499"/>
              <a:gd name="connsiteY1" fmla="*/ 0 h 3238883"/>
              <a:gd name="connsiteX2" fmla="*/ 2437499 w 2437499"/>
              <a:gd name="connsiteY2" fmla="*/ 657775 h 3238883"/>
              <a:gd name="connsiteX3" fmla="*/ -1 w 2437499"/>
              <a:gd name="connsiteY3" fmla="*/ 3238883 h 3238883"/>
              <a:gd name="connsiteX0" fmla="*/ 0 w 2552847"/>
              <a:gd name="connsiteY0" fmla="*/ 3754207 h 3754207"/>
              <a:gd name="connsiteX1" fmla="*/ 133685 w 2552847"/>
              <a:gd name="connsiteY1" fmla="*/ 515324 h 3754207"/>
              <a:gd name="connsiteX2" fmla="*/ 2552846 w 2552847"/>
              <a:gd name="connsiteY2" fmla="*/ 1 h 3754207"/>
              <a:gd name="connsiteX3" fmla="*/ 0 w 2552847"/>
              <a:gd name="connsiteY3" fmla="*/ 3754207 h 3754207"/>
              <a:gd name="connsiteX0" fmla="*/ 0 w 2552846"/>
              <a:gd name="connsiteY0" fmla="*/ 3754205 h 3754205"/>
              <a:gd name="connsiteX1" fmla="*/ 905307 w 2552846"/>
              <a:gd name="connsiteY1" fmla="*/ 984869 h 3754205"/>
              <a:gd name="connsiteX2" fmla="*/ 2552846 w 2552846"/>
              <a:gd name="connsiteY2" fmla="*/ -1 h 3754205"/>
              <a:gd name="connsiteX3" fmla="*/ 0 w 2552846"/>
              <a:gd name="connsiteY3" fmla="*/ 3754205 h 375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2846" h="3754205">
                <a:moveTo>
                  <a:pt x="0" y="3754205"/>
                </a:moveTo>
                <a:lnTo>
                  <a:pt x="905307" y="984869"/>
                </a:lnTo>
                <a:lnTo>
                  <a:pt x="2552846" y="-1"/>
                </a:lnTo>
                <a:lnTo>
                  <a:pt x="0" y="3754205"/>
                </a:lnTo>
                <a:close/>
              </a:path>
            </a:pathLst>
          </a:cu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dirty="0"/>
          </a:p>
        </p:txBody>
      </p:sp>
      <p:sp>
        <p:nvSpPr>
          <p:cNvPr id="91" name="Полилиния 90"/>
          <p:cNvSpPr/>
          <p:nvPr userDrawn="1"/>
        </p:nvSpPr>
        <p:spPr>
          <a:xfrm rot="5400000">
            <a:off x="-124176" y="1841264"/>
            <a:ext cx="1162752" cy="914398"/>
          </a:xfrm>
          <a:custGeom>
            <a:avLst/>
            <a:gdLst>
              <a:gd name="connsiteX0" fmla="*/ 0 w 1162752"/>
              <a:gd name="connsiteY0" fmla="*/ 914398 h 914398"/>
              <a:gd name="connsiteX1" fmla="*/ 135467 w 1162752"/>
              <a:gd name="connsiteY1" fmla="*/ 0 h 914398"/>
              <a:gd name="connsiteX2" fmla="*/ 1162752 w 1162752"/>
              <a:gd name="connsiteY2" fmla="*/ 914398 h 914398"/>
              <a:gd name="connsiteX3" fmla="*/ 0 w 1162752"/>
              <a:gd name="connsiteY3" fmla="*/ 914398 h 914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2752" h="914398">
                <a:moveTo>
                  <a:pt x="0" y="914398"/>
                </a:moveTo>
                <a:lnTo>
                  <a:pt x="135467" y="0"/>
                </a:lnTo>
                <a:lnTo>
                  <a:pt x="1162752" y="914398"/>
                </a:lnTo>
                <a:lnTo>
                  <a:pt x="0" y="914398"/>
                </a:lnTo>
                <a:close/>
              </a:path>
            </a:pathLst>
          </a:custGeom>
          <a:solidFill>
            <a:schemeClr val="tx2">
              <a:lumMod val="60000"/>
              <a:lumOff val="40000"/>
              <a:alpha val="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ru-RU" dirty="0"/>
          </a:p>
        </p:txBody>
      </p:sp>
      <p:sp>
        <p:nvSpPr>
          <p:cNvPr id="96" name="Текст 95"/>
          <p:cNvSpPr>
            <a:spLocks noGrp="1"/>
          </p:cNvSpPr>
          <p:nvPr>
            <p:ph type="body" sz="quarter" idx="11" hasCustomPrompt="1"/>
          </p:nvPr>
        </p:nvSpPr>
        <p:spPr>
          <a:xfrm>
            <a:off x="925512" y="5601037"/>
            <a:ext cx="7359871" cy="358757"/>
          </a:xfrm>
        </p:spPr>
        <p:txBody>
          <a:bodyPr>
            <a:normAutofit/>
          </a:bodyPr>
          <a:lstStyle>
            <a:lvl1pPr>
              <a:defRPr sz="1600" b="1">
                <a:latin typeface="+mn-lt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2708878697"/>
      </p:ext>
    </p:extLst>
  </p:cSld>
  <p:clrMapOvr>
    <a:masterClrMapping/>
  </p:clrMapOvr>
  <p:transition spd="slow">
    <p:cut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 + текст ил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олилиния 8"/>
          <p:cNvSpPr/>
          <p:nvPr userDrawn="1"/>
        </p:nvSpPr>
        <p:spPr>
          <a:xfrm>
            <a:off x="2" y="6498000"/>
            <a:ext cx="11106473" cy="360000"/>
          </a:xfrm>
          <a:custGeom>
            <a:avLst/>
            <a:gdLst>
              <a:gd name="connsiteX0" fmla="*/ 0 w 11106473"/>
              <a:gd name="connsiteY0" fmla="*/ 0 h 360000"/>
              <a:gd name="connsiteX1" fmla="*/ 10598873 w 11106473"/>
              <a:gd name="connsiteY1" fmla="*/ 0 h 360000"/>
              <a:gd name="connsiteX2" fmla="*/ 10926473 w 11106473"/>
              <a:gd name="connsiteY2" fmla="*/ 0 h 360000"/>
              <a:gd name="connsiteX3" fmla="*/ 11106473 w 11106473"/>
              <a:gd name="connsiteY3" fmla="*/ 180000 h 360000"/>
              <a:gd name="connsiteX4" fmla="*/ 11106473 w 11106473"/>
              <a:gd name="connsiteY4" fmla="*/ 360000 h 360000"/>
              <a:gd name="connsiteX5" fmla="*/ 10598873 w 11106473"/>
              <a:gd name="connsiteY5" fmla="*/ 360000 h 360000"/>
              <a:gd name="connsiteX6" fmla="*/ 0 w 11106473"/>
              <a:gd name="connsiteY6" fmla="*/ 360000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06473" h="360000">
                <a:moveTo>
                  <a:pt x="0" y="0"/>
                </a:moveTo>
                <a:lnTo>
                  <a:pt x="10598873" y="0"/>
                </a:lnTo>
                <a:lnTo>
                  <a:pt x="10926473" y="0"/>
                </a:lnTo>
                <a:cubicBezTo>
                  <a:pt x="11025884" y="0"/>
                  <a:pt x="11106473" y="80589"/>
                  <a:pt x="11106473" y="180000"/>
                </a:cubicBezTo>
                <a:lnTo>
                  <a:pt x="11106473" y="360000"/>
                </a:lnTo>
                <a:lnTo>
                  <a:pt x="10598873" y="360000"/>
                </a:lnTo>
                <a:lnTo>
                  <a:pt x="0" y="360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ound Single Corner Rectangle 12"/>
          <p:cNvSpPr/>
          <p:nvPr userDrawn="1"/>
        </p:nvSpPr>
        <p:spPr>
          <a:xfrm flipH="1">
            <a:off x="11686202" y="6498000"/>
            <a:ext cx="505801" cy="360000"/>
          </a:xfrm>
          <a:prstGeom prst="round1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6937" y="6498000"/>
            <a:ext cx="298803" cy="288410"/>
          </a:xfrm>
          <a:prstGeom prst="rect">
            <a:avLst/>
          </a:prstGeom>
        </p:spPr>
      </p:pic>
      <p:grpSp>
        <p:nvGrpSpPr>
          <p:cNvPr id="12" name="Группа 11"/>
          <p:cNvGrpSpPr/>
          <p:nvPr userDrawn="1"/>
        </p:nvGrpSpPr>
        <p:grpSpPr>
          <a:xfrm>
            <a:off x="2" y="6498000"/>
            <a:ext cx="10821708" cy="360001"/>
            <a:chOff x="2" y="6498000"/>
            <a:chExt cx="10821708" cy="360001"/>
          </a:xfrm>
          <a:solidFill>
            <a:schemeClr val="accent1"/>
          </a:solidFill>
        </p:grpSpPr>
        <p:sp>
          <p:nvSpPr>
            <p:cNvPr id="13" name="Полилиния 12"/>
            <p:cNvSpPr/>
            <p:nvPr userDrawn="1"/>
          </p:nvSpPr>
          <p:spPr>
            <a:xfrm rot="5400000">
              <a:off x="5811699" y="5667212"/>
              <a:ext cx="360000" cy="2021576"/>
            </a:xfrm>
            <a:custGeom>
              <a:avLst/>
              <a:gdLst>
                <a:gd name="connsiteX0" fmla="*/ 0 w 360000"/>
                <a:gd name="connsiteY0" fmla="*/ 2021576 h 2021576"/>
                <a:gd name="connsiteX1" fmla="*/ 0 w 360000"/>
                <a:gd name="connsiteY1" fmla="*/ 0 h 2021576"/>
                <a:gd name="connsiteX2" fmla="*/ 360000 w 360000"/>
                <a:gd name="connsiteY2" fmla="*/ 466084 h 2021576"/>
                <a:gd name="connsiteX3" fmla="*/ 360000 w 360000"/>
                <a:gd name="connsiteY3" fmla="*/ 1141321 h 2021576"/>
                <a:gd name="connsiteX4" fmla="*/ 0 w 360000"/>
                <a:gd name="connsiteY4" fmla="*/ 2021576 h 202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0000" h="2021576">
                  <a:moveTo>
                    <a:pt x="0" y="2021576"/>
                  </a:moveTo>
                  <a:lnTo>
                    <a:pt x="0" y="0"/>
                  </a:lnTo>
                  <a:lnTo>
                    <a:pt x="360000" y="466084"/>
                  </a:lnTo>
                  <a:lnTo>
                    <a:pt x="360000" y="1141321"/>
                  </a:lnTo>
                  <a:lnTo>
                    <a:pt x="0" y="20215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ru-RU" dirty="0"/>
            </a:p>
          </p:txBody>
        </p:sp>
        <p:sp>
          <p:nvSpPr>
            <p:cNvPr id="14" name="Полилиния 13"/>
            <p:cNvSpPr/>
            <p:nvPr userDrawn="1"/>
          </p:nvSpPr>
          <p:spPr>
            <a:xfrm rot="5400000">
              <a:off x="10109724" y="6146014"/>
              <a:ext cx="360000" cy="1063972"/>
            </a:xfrm>
            <a:custGeom>
              <a:avLst/>
              <a:gdLst>
                <a:gd name="connsiteX0" fmla="*/ 0 w 360000"/>
                <a:gd name="connsiteY0" fmla="*/ 1063972 h 1063972"/>
                <a:gd name="connsiteX1" fmla="*/ 0 w 360000"/>
                <a:gd name="connsiteY1" fmla="*/ 222835 h 1063972"/>
                <a:gd name="connsiteX2" fmla="*/ 0 w 360000"/>
                <a:gd name="connsiteY2" fmla="*/ 0 h 1063972"/>
                <a:gd name="connsiteX3" fmla="*/ 360000 w 360000"/>
                <a:gd name="connsiteY3" fmla="*/ 297277 h 1063972"/>
                <a:gd name="connsiteX4" fmla="*/ 360000 w 360000"/>
                <a:gd name="connsiteY4" fmla="*/ 986827 h 1063972"/>
                <a:gd name="connsiteX5" fmla="*/ 0 w 360000"/>
                <a:gd name="connsiteY5" fmla="*/ 1063972 h 1063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0000" h="1063972">
                  <a:moveTo>
                    <a:pt x="0" y="1063972"/>
                  </a:moveTo>
                  <a:lnTo>
                    <a:pt x="0" y="222835"/>
                  </a:lnTo>
                  <a:lnTo>
                    <a:pt x="0" y="0"/>
                  </a:lnTo>
                  <a:lnTo>
                    <a:pt x="360000" y="297277"/>
                  </a:lnTo>
                  <a:lnTo>
                    <a:pt x="360000" y="986827"/>
                  </a:lnTo>
                  <a:lnTo>
                    <a:pt x="0" y="10639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ru-RU" dirty="0"/>
            </a:p>
          </p:txBody>
        </p:sp>
        <p:sp>
          <p:nvSpPr>
            <p:cNvPr id="15" name="Полилиния 14"/>
            <p:cNvSpPr/>
            <p:nvPr userDrawn="1"/>
          </p:nvSpPr>
          <p:spPr>
            <a:xfrm rot="5400000">
              <a:off x="176427" y="6321577"/>
              <a:ext cx="359999" cy="712849"/>
            </a:xfrm>
            <a:custGeom>
              <a:avLst/>
              <a:gdLst>
                <a:gd name="connsiteX0" fmla="*/ 0 w 359999"/>
                <a:gd name="connsiteY0" fmla="*/ 712849 h 712849"/>
                <a:gd name="connsiteX1" fmla="*/ 0 w 359999"/>
                <a:gd name="connsiteY1" fmla="*/ 0 h 712849"/>
                <a:gd name="connsiteX2" fmla="*/ 359999 w 359999"/>
                <a:gd name="connsiteY2" fmla="*/ 266791 h 712849"/>
                <a:gd name="connsiteX3" fmla="*/ 359999 w 359999"/>
                <a:gd name="connsiteY3" fmla="*/ 712849 h 712849"/>
                <a:gd name="connsiteX4" fmla="*/ 0 w 359999"/>
                <a:gd name="connsiteY4" fmla="*/ 712849 h 712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9999" h="712849">
                  <a:moveTo>
                    <a:pt x="0" y="712849"/>
                  </a:moveTo>
                  <a:lnTo>
                    <a:pt x="0" y="0"/>
                  </a:lnTo>
                  <a:lnTo>
                    <a:pt x="359999" y="266791"/>
                  </a:lnTo>
                  <a:lnTo>
                    <a:pt x="359999" y="712849"/>
                  </a:lnTo>
                  <a:lnTo>
                    <a:pt x="0" y="71284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ru-RU" dirty="0"/>
            </a:p>
          </p:txBody>
        </p:sp>
        <p:sp>
          <p:nvSpPr>
            <p:cNvPr id="16" name="Полилиния 15"/>
            <p:cNvSpPr/>
            <p:nvPr userDrawn="1"/>
          </p:nvSpPr>
          <p:spPr>
            <a:xfrm rot="5400000">
              <a:off x="7267746" y="6388897"/>
              <a:ext cx="359999" cy="578208"/>
            </a:xfrm>
            <a:custGeom>
              <a:avLst/>
              <a:gdLst>
                <a:gd name="connsiteX0" fmla="*/ 0 w 359999"/>
                <a:gd name="connsiteY0" fmla="*/ 578208 h 578208"/>
                <a:gd name="connsiteX1" fmla="*/ 0 w 359999"/>
                <a:gd name="connsiteY1" fmla="*/ 516369 h 578208"/>
                <a:gd name="connsiteX2" fmla="*/ 359999 w 359999"/>
                <a:gd name="connsiteY2" fmla="*/ 0 h 578208"/>
                <a:gd name="connsiteX3" fmla="*/ 359999 w 359999"/>
                <a:gd name="connsiteY3" fmla="*/ 348420 h 578208"/>
                <a:gd name="connsiteX4" fmla="*/ 0 w 359999"/>
                <a:gd name="connsiteY4" fmla="*/ 578208 h 578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9999" h="578208">
                  <a:moveTo>
                    <a:pt x="0" y="578208"/>
                  </a:moveTo>
                  <a:lnTo>
                    <a:pt x="0" y="516369"/>
                  </a:lnTo>
                  <a:lnTo>
                    <a:pt x="359999" y="0"/>
                  </a:lnTo>
                  <a:lnTo>
                    <a:pt x="359999" y="348420"/>
                  </a:lnTo>
                  <a:lnTo>
                    <a:pt x="0" y="5782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ru-RU" dirty="0"/>
            </a:p>
          </p:txBody>
        </p:sp>
        <p:sp>
          <p:nvSpPr>
            <p:cNvPr id="17" name="Полилиния 16"/>
            <p:cNvSpPr/>
            <p:nvPr userDrawn="1"/>
          </p:nvSpPr>
          <p:spPr>
            <a:xfrm rot="5400000">
              <a:off x="3599765" y="5755136"/>
              <a:ext cx="359998" cy="1845730"/>
            </a:xfrm>
            <a:custGeom>
              <a:avLst/>
              <a:gdLst>
                <a:gd name="connsiteX0" fmla="*/ 0 w 359998"/>
                <a:gd name="connsiteY0" fmla="*/ 1845730 h 1845730"/>
                <a:gd name="connsiteX1" fmla="*/ 0 w 359998"/>
                <a:gd name="connsiteY1" fmla="*/ 0 h 1845730"/>
                <a:gd name="connsiteX2" fmla="*/ 359998 w 359998"/>
                <a:gd name="connsiteY2" fmla="*/ 376320 h 1845730"/>
                <a:gd name="connsiteX3" fmla="*/ 359998 w 359998"/>
                <a:gd name="connsiteY3" fmla="*/ 1056369 h 1845730"/>
                <a:gd name="connsiteX4" fmla="*/ 0 w 359998"/>
                <a:gd name="connsiteY4" fmla="*/ 1845730 h 184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9998" h="1845730">
                  <a:moveTo>
                    <a:pt x="0" y="1845730"/>
                  </a:moveTo>
                  <a:lnTo>
                    <a:pt x="0" y="0"/>
                  </a:lnTo>
                  <a:lnTo>
                    <a:pt x="359998" y="376320"/>
                  </a:lnTo>
                  <a:lnTo>
                    <a:pt x="359998" y="1056369"/>
                  </a:lnTo>
                  <a:lnTo>
                    <a:pt x="0" y="18457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ru-RU" dirty="0"/>
            </a:p>
          </p:txBody>
        </p:sp>
      </p:grpSp>
      <p:sp>
        <p:nvSpPr>
          <p:cNvPr id="18" name="Полилиния 17"/>
          <p:cNvSpPr/>
          <p:nvPr userDrawn="1"/>
        </p:nvSpPr>
        <p:spPr>
          <a:xfrm rot="5400000">
            <a:off x="9140692" y="6552825"/>
            <a:ext cx="250751" cy="359600"/>
          </a:xfrm>
          <a:custGeom>
            <a:avLst/>
            <a:gdLst>
              <a:gd name="connsiteX0" fmla="*/ 0 w 250751"/>
              <a:gd name="connsiteY0" fmla="*/ 359600 h 359600"/>
              <a:gd name="connsiteX1" fmla="*/ 250751 w 250751"/>
              <a:gd name="connsiteY1" fmla="*/ 0 h 359600"/>
              <a:gd name="connsiteX2" fmla="*/ 250751 w 250751"/>
              <a:gd name="connsiteY2" fmla="*/ 307 h 359600"/>
              <a:gd name="connsiteX3" fmla="*/ 307 w 250751"/>
              <a:gd name="connsiteY3" fmla="*/ 359534 h 359600"/>
              <a:gd name="connsiteX4" fmla="*/ 0 w 250751"/>
              <a:gd name="connsiteY4" fmla="*/ 359600 h 35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751" h="359600">
                <a:moveTo>
                  <a:pt x="0" y="359600"/>
                </a:moveTo>
                <a:lnTo>
                  <a:pt x="250751" y="0"/>
                </a:lnTo>
                <a:lnTo>
                  <a:pt x="250751" y="307"/>
                </a:lnTo>
                <a:lnTo>
                  <a:pt x="307" y="359534"/>
                </a:lnTo>
                <a:lnTo>
                  <a:pt x="0" y="359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ru-RU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1423371" y="6498000"/>
            <a:ext cx="8411512" cy="360001"/>
            <a:chOff x="1423371" y="6498000"/>
            <a:chExt cx="8411512" cy="360001"/>
          </a:xfrm>
          <a:solidFill>
            <a:schemeClr val="accent1">
              <a:alpha val="70000"/>
            </a:schemeClr>
          </a:solidFill>
        </p:grpSpPr>
        <p:sp>
          <p:nvSpPr>
            <p:cNvPr id="20" name="Полилиния 19"/>
            <p:cNvSpPr/>
            <p:nvPr userDrawn="1"/>
          </p:nvSpPr>
          <p:spPr>
            <a:xfrm rot="5400000">
              <a:off x="1960134" y="5961238"/>
              <a:ext cx="360000" cy="1433525"/>
            </a:xfrm>
            <a:custGeom>
              <a:avLst/>
              <a:gdLst>
                <a:gd name="connsiteX0" fmla="*/ 0 w 360000"/>
                <a:gd name="connsiteY0" fmla="*/ 1215114 h 1433525"/>
                <a:gd name="connsiteX1" fmla="*/ 0 w 360000"/>
                <a:gd name="connsiteY1" fmla="*/ 0 h 1433525"/>
                <a:gd name="connsiteX2" fmla="*/ 360000 w 360000"/>
                <a:gd name="connsiteY2" fmla="*/ 773628 h 1433525"/>
                <a:gd name="connsiteX3" fmla="*/ 360000 w 360000"/>
                <a:gd name="connsiteY3" fmla="*/ 1433525 h 1433525"/>
                <a:gd name="connsiteX4" fmla="*/ 0 w 360000"/>
                <a:gd name="connsiteY4" fmla="*/ 1215114 h 143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0000" h="1433525">
                  <a:moveTo>
                    <a:pt x="0" y="1215114"/>
                  </a:moveTo>
                  <a:lnTo>
                    <a:pt x="0" y="0"/>
                  </a:lnTo>
                  <a:lnTo>
                    <a:pt x="360000" y="773628"/>
                  </a:lnTo>
                  <a:lnTo>
                    <a:pt x="360000" y="1433525"/>
                  </a:lnTo>
                  <a:lnTo>
                    <a:pt x="0" y="1215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ru-RU" dirty="0"/>
            </a:p>
          </p:txBody>
        </p:sp>
        <p:sp>
          <p:nvSpPr>
            <p:cNvPr id="21" name="Полилиния 20"/>
            <p:cNvSpPr/>
            <p:nvPr userDrawn="1"/>
          </p:nvSpPr>
          <p:spPr>
            <a:xfrm rot="5400000">
              <a:off x="4842246" y="6493200"/>
              <a:ext cx="360000" cy="369600"/>
            </a:xfrm>
            <a:custGeom>
              <a:avLst/>
              <a:gdLst>
                <a:gd name="connsiteX0" fmla="*/ 0 w 360000"/>
                <a:gd name="connsiteY0" fmla="*/ 369600 h 369600"/>
                <a:gd name="connsiteX1" fmla="*/ 360000 w 360000"/>
                <a:gd name="connsiteY1" fmla="*/ 0 h 369600"/>
                <a:gd name="connsiteX2" fmla="*/ 360000 w 360000"/>
                <a:gd name="connsiteY2" fmla="*/ 369600 h 369600"/>
                <a:gd name="connsiteX3" fmla="*/ 0 w 360000"/>
                <a:gd name="connsiteY3" fmla="*/ 369600 h 36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9600">
                  <a:moveTo>
                    <a:pt x="0" y="369600"/>
                  </a:moveTo>
                  <a:lnTo>
                    <a:pt x="360000" y="0"/>
                  </a:lnTo>
                  <a:lnTo>
                    <a:pt x="360000" y="369600"/>
                  </a:lnTo>
                  <a:lnTo>
                    <a:pt x="0" y="3696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ru-RU" dirty="0"/>
            </a:p>
          </p:txBody>
        </p:sp>
        <p:sp>
          <p:nvSpPr>
            <p:cNvPr id="22" name="Полилиния 21"/>
            <p:cNvSpPr/>
            <p:nvPr userDrawn="1"/>
          </p:nvSpPr>
          <p:spPr>
            <a:xfrm rot="5400000">
              <a:off x="8953307" y="6474289"/>
              <a:ext cx="109248" cy="156672"/>
            </a:xfrm>
            <a:custGeom>
              <a:avLst/>
              <a:gdLst>
                <a:gd name="connsiteX0" fmla="*/ 0 w 109248"/>
                <a:gd name="connsiteY0" fmla="*/ 156672 h 156672"/>
                <a:gd name="connsiteX1" fmla="*/ 0 w 109248"/>
                <a:gd name="connsiteY1" fmla="*/ 23411 h 156672"/>
                <a:gd name="connsiteX2" fmla="*/ 109248 w 109248"/>
                <a:gd name="connsiteY2" fmla="*/ 0 h 156672"/>
                <a:gd name="connsiteX3" fmla="*/ 0 w 109248"/>
                <a:gd name="connsiteY3" fmla="*/ 156672 h 15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248" h="156672">
                  <a:moveTo>
                    <a:pt x="0" y="156672"/>
                  </a:moveTo>
                  <a:lnTo>
                    <a:pt x="0" y="23411"/>
                  </a:lnTo>
                  <a:lnTo>
                    <a:pt x="109248" y="0"/>
                  </a:lnTo>
                  <a:lnTo>
                    <a:pt x="0" y="156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ru-RU" dirty="0"/>
            </a:p>
          </p:txBody>
        </p:sp>
        <p:sp>
          <p:nvSpPr>
            <p:cNvPr id="23" name="Полилиния 22"/>
            <p:cNvSpPr/>
            <p:nvPr userDrawn="1"/>
          </p:nvSpPr>
          <p:spPr>
            <a:xfrm rot="5400000">
              <a:off x="8005643" y="5028760"/>
              <a:ext cx="360000" cy="3298480"/>
            </a:xfrm>
            <a:custGeom>
              <a:avLst/>
              <a:gdLst>
                <a:gd name="connsiteX0" fmla="*/ 0 w 360000"/>
                <a:gd name="connsiteY0" fmla="*/ 2832396 h 3298480"/>
                <a:gd name="connsiteX1" fmla="*/ 0 w 360000"/>
                <a:gd name="connsiteY1" fmla="*/ 77145 h 3298480"/>
                <a:gd name="connsiteX2" fmla="*/ 360000 w 360000"/>
                <a:gd name="connsiteY2" fmla="*/ 0 h 3298480"/>
                <a:gd name="connsiteX3" fmla="*/ 360000 w 360000"/>
                <a:gd name="connsiteY3" fmla="*/ 389016 h 3298480"/>
                <a:gd name="connsiteX4" fmla="*/ 109249 w 360000"/>
                <a:gd name="connsiteY4" fmla="*/ 748616 h 3298480"/>
                <a:gd name="connsiteX5" fmla="*/ 1 w 360000"/>
                <a:gd name="connsiteY5" fmla="*/ 772027 h 3298480"/>
                <a:gd name="connsiteX6" fmla="*/ 1 w 360000"/>
                <a:gd name="connsiteY6" fmla="*/ 905288 h 3298480"/>
                <a:gd name="connsiteX7" fmla="*/ 109249 w 360000"/>
                <a:gd name="connsiteY7" fmla="*/ 748616 h 3298480"/>
                <a:gd name="connsiteX8" fmla="*/ 109556 w 360000"/>
                <a:gd name="connsiteY8" fmla="*/ 748550 h 3298480"/>
                <a:gd name="connsiteX9" fmla="*/ 1 w 360000"/>
                <a:gd name="connsiteY9" fmla="*/ 905692 h 3298480"/>
                <a:gd name="connsiteX10" fmla="*/ 1 w 360000"/>
                <a:gd name="connsiteY10" fmla="*/ 2613998 h 3298480"/>
                <a:gd name="connsiteX11" fmla="*/ 360000 w 360000"/>
                <a:gd name="connsiteY11" fmla="*/ 2097726 h 3298480"/>
                <a:gd name="connsiteX12" fmla="*/ 360000 w 360000"/>
                <a:gd name="connsiteY12" fmla="*/ 2098034 h 3298480"/>
                <a:gd name="connsiteX13" fmla="*/ 1 w 360000"/>
                <a:gd name="connsiteY13" fmla="*/ 2614403 h 3298480"/>
                <a:gd name="connsiteX14" fmla="*/ 1 w 360000"/>
                <a:gd name="connsiteY14" fmla="*/ 2676242 h 3298480"/>
                <a:gd name="connsiteX15" fmla="*/ 360000 w 360000"/>
                <a:gd name="connsiteY15" fmla="*/ 2446454 h 3298480"/>
                <a:gd name="connsiteX16" fmla="*/ 360000 w 360000"/>
                <a:gd name="connsiteY16" fmla="*/ 3298480 h 3298480"/>
                <a:gd name="connsiteX17" fmla="*/ 0 w 360000"/>
                <a:gd name="connsiteY17" fmla="*/ 2832396 h 3298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0000" h="3298480">
                  <a:moveTo>
                    <a:pt x="0" y="2832396"/>
                  </a:moveTo>
                  <a:lnTo>
                    <a:pt x="0" y="77145"/>
                  </a:lnTo>
                  <a:lnTo>
                    <a:pt x="360000" y="0"/>
                  </a:lnTo>
                  <a:lnTo>
                    <a:pt x="360000" y="389016"/>
                  </a:lnTo>
                  <a:lnTo>
                    <a:pt x="109249" y="748616"/>
                  </a:lnTo>
                  <a:lnTo>
                    <a:pt x="1" y="772027"/>
                  </a:lnTo>
                  <a:lnTo>
                    <a:pt x="1" y="905288"/>
                  </a:lnTo>
                  <a:lnTo>
                    <a:pt x="109249" y="748616"/>
                  </a:lnTo>
                  <a:lnTo>
                    <a:pt x="109556" y="748550"/>
                  </a:lnTo>
                  <a:lnTo>
                    <a:pt x="1" y="905692"/>
                  </a:lnTo>
                  <a:lnTo>
                    <a:pt x="1" y="2613998"/>
                  </a:lnTo>
                  <a:lnTo>
                    <a:pt x="360000" y="2097726"/>
                  </a:lnTo>
                  <a:lnTo>
                    <a:pt x="360000" y="2098034"/>
                  </a:lnTo>
                  <a:lnTo>
                    <a:pt x="1" y="2614403"/>
                  </a:lnTo>
                  <a:lnTo>
                    <a:pt x="1" y="2676242"/>
                  </a:lnTo>
                  <a:lnTo>
                    <a:pt x="360000" y="2446454"/>
                  </a:lnTo>
                  <a:lnTo>
                    <a:pt x="360000" y="3298480"/>
                  </a:lnTo>
                  <a:lnTo>
                    <a:pt x="0" y="28323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ru-RU" dirty="0"/>
            </a:p>
          </p:txBody>
        </p:sp>
      </p:grpSp>
      <p:grpSp>
        <p:nvGrpSpPr>
          <p:cNvPr id="24" name="Группа 23"/>
          <p:cNvGrpSpPr/>
          <p:nvPr userDrawn="1"/>
        </p:nvGrpSpPr>
        <p:grpSpPr>
          <a:xfrm>
            <a:off x="1" y="6498000"/>
            <a:ext cx="11106474" cy="360001"/>
            <a:chOff x="1" y="6498000"/>
            <a:chExt cx="11106474" cy="360001"/>
          </a:xfrm>
          <a:solidFill>
            <a:schemeClr val="accent1">
              <a:alpha val="50000"/>
            </a:schemeClr>
          </a:solidFill>
        </p:grpSpPr>
        <p:sp>
          <p:nvSpPr>
            <p:cNvPr id="25" name="Полилиния 24"/>
            <p:cNvSpPr/>
            <p:nvPr userDrawn="1"/>
          </p:nvSpPr>
          <p:spPr>
            <a:xfrm rot="5400000">
              <a:off x="8000444" y="5718443"/>
              <a:ext cx="359999" cy="1919116"/>
            </a:xfrm>
            <a:custGeom>
              <a:avLst/>
              <a:gdLst>
                <a:gd name="connsiteX0" fmla="*/ 0 w 359999"/>
                <a:gd name="connsiteY0" fmla="*/ 1919116 h 1919116"/>
                <a:gd name="connsiteX1" fmla="*/ 0 w 359999"/>
                <a:gd name="connsiteY1" fmla="*/ 210810 h 1919116"/>
                <a:gd name="connsiteX2" fmla="*/ 109555 w 359999"/>
                <a:gd name="connsiteY2" fmla="*/ 53668 h 1919116"/>
                <a:gd name="connsiteX3" fmla="*/ 359999 w 359999"/>
                <a:gd name="connsiteY3" fmla="*/ 0 h 1919116"/>
                <a:gd name="connsiteX4" fmla="*/ 359999 w 359999"/>
                <a:gd name="connsiteY4" fmla="*/ 1402844 h 1919116"/>
                <a:gd name="connsiteX5" fmla="*/ 0 w 359999"/>
                <a:gd name="connsiteY5" fmla="*/ 1919116 h 1919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9999" h="1919116">
                  <a:moveTo>
                    <a:pt x="0" y="1919116"/>
                  </a:moveTo>
                  <a:lnTo>
                    <a:pt x="0" y="210810"/>
                  </a:lnTo>
                  <a:lnTo>
                    <a:pt x="109555" y="53668"/>
                  </a:lnTo>
                  <a:lnTo>
                    <a:pt x="359999" y="0"/>
                  </a:lnTo>
                  <a:lnTo>
                    <a:pt x="359999" y="1402844"/>
                  </a:lnTo>
                  <a:lnTo>
                    <a:pt x="0" y="191911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ru-RU" dirty="0"/>
            </a:p>
          </p:txBody>
        </p:sp>
        <p:sp>
          <p:nvSpPr>
            <p:cNvPr id="26" name="Полилиния 25"/>
            <p:cNvSpPr/>
            <p:nvPr userDrawn="1"/>
          </p:nvSpPr>
          <p:spPr>
            <a:xfrm rot="5400000">
              <a:off x="640892" y="5857110"/>
              <a:ext cx="360000" cy="1641781"/>
            </a:xfrm>
            <a:custGeom>
              <a:avLst/>
              <a:gdLst>
                <a:gd name="connsiteX0" fmla="*/ 0 w 360000"/>
                <a:gd name="connsiteY0" fmla="*/ 1641781 h 1641781"/>
                <a:gd name="connsiteX1" fmla="*/ 0 w 360000"/>
                <a:gd name="connsiteY1" fmla="*/ 0 h 1641781"/>
                <a:gd name="connsiteX2" fmla="*/ 360000 w 360000"/>
                <a:gd name="connsiteY2" fmla="*/ 218411 h 1641781"/>
                <a:gd name="connsiteX3" fmla="*/ 360000 w 360000"/>
                <a:gd name="connsiteY3" fmla="*/ 1195723 h 1641781"/>
                <a:gd name="connsiteX4" fmla="*/ 1 w 360000"/>
                <a:gd name="connsiteY4" fmla="*/ 928932 h 1641781"/>
                <a:gd name="connsiteX5" fmla="*/ 1 w 360000"/>
                <a:gd name="connsiteY5" fmla="*/ 1641781 h 1641781"/>
                <a:gd name="connsiteX6" fmla="*/ 0 w 360000"/>
                <a:gd name="connsiteY6" fmla="*/ 1641781 h 1641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0000" h="1641781">
                  <a:moveTo>
                    <a:pt x="0" y="1641781"/>
                  </a:moveTo>
                  <a:lnTo>
                    <a:pt x="0" y="0"/>
                  </a:lnTo>
                  <a:lnTo>
                    <a:pt x="360000" y="218411"/>
                  </a:lnTo>
                  <a:lnTo>
                    <a:pt x="360000" y="1195723"/>
                  </a:lnTo>
                  <a:lnTo>
                    <a:pt x="1" y="928932"/>
                  </a:lnTo>
                  <a:lnTo>
                    <a:pt x="1" y="1641781"/>
                  </a:lnTo>
                  <a:lnTo>
                    <a:pt x="0" y="1641781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ru-RU" dirty="0"/>
            </a:p>
          </p:txBody>
        </p:sp>
        <p:sp>
          <p:nvSpPr>
            <p:cNvPr id="27" name="Полилиния 26"/>
            <p:cNvSpPr/>
            <p:nvPr userDrawn="1"/>
          </p:nvSpPr>
          <p:spPr>
            <a:xfrm rot="5400000">
              <a:off x="3280357" y="5300912"/>
              <a:ext cx="360000" cy="2754177"/>
            </a:xfrm>
            <a:custGeom>
              <a:avLst/>
              <a:gdLst>
                <a:gd name="connsiteX0" fmla="*/ 0 w 360000"/>
                <a:gd name="connsiteY0" fmla="*/ 1980549 h 2754177"/>
                <a:gd name="connsiteX1" fmla="*/ 0 w 360000"/>
                <a:gd name="connsiteY1" fmla="*/ 0 h 2754177"/>
                <a:gd name="connsiteX2" fmla="*/ 360000 w 360000"/>
                <a:gd name="connsiteY2" fmla="*/ 0 h 2754177"/>
                <a:gd name="connsiteX3" fmla="*/ 360000 w 360000"/>
                <a:gd name="connsiteY3" fmla="*/ 511137 h 2754177"/>
                <a:gd name="connsiteX4" fmla="*/ 2 w 360000"/>
                <a:gd name="connsiteY4" fmla="*/ 134817 h 2754177"/>
                <a:gd name="connsiteX5" fmla="*/ 2 w 360000"/>
                <a:gd name="connsiteY5" fmla="*/ 1980547 h 2754177"/>
                <a:gd name="connsiteX6" fmla="*/ 360000 w 360000"/>
                <a:gd name="connsiteY6" fmla="*/ 1191186 h 2754177"/>
                <a:gd name="connsiteX7" fmla="*/ 360000 w 360000"/>
                <a:gd name="connsiteY7" fmla="*/ 2754177 h 2754177"/>
                <a:gd name="connsiteX8" fmla="*/ 0 w 360000"/>
                <a:gd name="connsiteY8" fmla="*/ 1980549 h 2754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0000" h="2754177">
                  <a:moveTo>
                    <a:pt x="0" y="1980549"/>
                  </a:moveTo>
                  <a:lnTo>
                    <a:pt x="0" y="0"/>
                  </a:lnTo>
                  <a:lnTo>
                    <a:pt x="360000" y="0"/>
                  </a:lnTo>
                  <a:lnTo>
                    <a:pt x="360000" y="511137"/>
                  </a:lnTo>
                  <a:lnTo>
                    <a:pt x="2" y="134817"/>
                  </a:lnTo>
                  <a:lnTo>
                    <a:pt x="2" y="1980547"/>
                  </a:lnTo>
                  <a:lnTo>
                    <a:pt x="360000" y="1191186"/>
                  </a:lnTo>
                  <a:lnTo>
                    <a:pt x="360000" y="2754177"/>
                  </a:lnTo>
                  <a:lnTo>
                    <a:pt x="0" y="198054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ru-RU" dirty="0"/>
            </a:p>
          </p:txBody>
        </p:sp>
        <p:sp>
          <p:nvSpPr>
            <p:cNvPr id="28" name="Полилиния 27"/>
            <p:cNvSpPr/>
            <p:nvPr userDrawn="1"/>
          </p:nvSpPr>
          <p:spPr>
            <a:xfrm rot="5400000">
              <a:off x="5169306" y="6166140"/>
              <a:ext cx="360000" cy="1023720"/>
            </a:xfrm>
            <a:custGeom>
              <a:avLst/>
              <a:gdLst>
                <a:gd name="connsiteX0" fmla="*/ 0 w 360000"/>
                <a:gd name="connsiteY0" fmla="*/ 1023720 h 1023720"/>
                <a:gd name="connsiteX1" fmla="*/ 0 w 360000"/>
                <a:gd name="connsiteY1" fmla="*/ 880255 h 1023720"/>
                <a:gd name="connsiteX2" fmla="*/ 360000 w 360000"/>
                <a:gd name="connsiteY2" fmla="*/ 0 h 1023720"/>
                <a:gd name="connsiteX3" fmla="*/ 360000 w 360000"/>
                <a:gd name="connsiteY3" fmla="*/ 654120 h 1023720"/>
                <a:gd name="connsiteX4" fmla="*/ 0 w 360000"/>
                <a:gd name="connsiteY4" fmla="*/ 1023720 h 1023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0000" h="1023720">
                  <a:moveTo>
                    <a:pt x="0" y="1023720"/>
                  </a:moveTo>
                  <a:lnTo>
                    <a:pt x="0" y="880255"/>
                  </a:lnTo>
                  <a:lnTo>
                    <a:pt x="360000" y="0"/>
                  </a:lnTo>
                  <a:lnTo>
                    <a:pt x="360000" y="654120"/>
                  </a:lnTo>
                  <a:lnTo>
                    <a:pt x="0" y="10237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ru-RU" dirty="0"/>
            </a:p>
          </p:txBody>
        </p:sp>
        <p:sp>
          <p:nvSpPr>
            <p:cNvPr id="29" name="Полилиния 28"/>
            <p:cNvSpPr/>
            <p:nvPr userDrawn="1"/>
          </p:nvSpPr>
          <p:spPr>
            <a:xfrm rot="5400000">
              <a:off x="10635454" y="6386979"/>
              <a:ext cx="360000" cy="582042"/>
            </a:xfrm>
            <a:custGeom>
              <a:avLst/>
              <a:gdLst>
                <a:gd name="connsiteX0" fmla="*/ 0 w 360000"/>
                <a:gd name="connsiteY0" fmla="*/ 284765 h 582042"/>
                <a:gd name="connsiteX1" fmla="*/ 0 w 360000"/>
                <a:gd name="connsiteY1" fmla="*/ 180000 h 582042"/>
                <a:gd name="connsiteX2" fmla="*/ 180000 w 360000"/>
                <a:gd name="connsiteY2" fmla="*/ 0 h 582042"/>
                <a:gd name="connsiteX3" fmla="*/ 360000 w 360000"/>
                <a:gd name="connsiteY3" fmla="*/ 0 h 582042"/>
                <a:gd name="connsiteX4" fmla="*/ 360000 w 360000"/>
                <a:gd name="connsiteY4" fmla="*/ 507600 h 582042"/>
                <a:gd name="connsiteX5" fmla="*/ 360000 w 360000"/>
                <a:gd name="connsiteY5" fmla="*/ 582042 h 582042"/>
                <a:gd name="connsiteX6" fmla="*/ 0 w 360000"/>
                <a:gd name="connsiteY6" fmla="*/ 284765 h 582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0000" h="582042">
                  <a:moveTo>
                    <a:pt x="0" y="284765"/>
                  </a:moveTo>
                  <a:lnTo>
                    <a:pt x="0" y="180000"/>
                  </a:lnTo>
                  <a:cubicBezTo>
                    <a:pt x="0" y="80589"/>
                    <a:pt x="80589" y="0"/>
                    <a:pt x="180000" y="0"/>
                  </a:cubicBezTo>
                  <a:lnTo>
                    <a:pt x="360000" y="0"/>
                  </a:lnTo>
                  <a:lnTo>
                    <a:pt x="360000" y="507600"/>
                  </a:lnTo>
                  <a:lnTo>
                    <a:pt x="360000" y="582042"/>
                  </a:lnTo>
                  <a:lnTo>
                    <a:pt x="0" y="28476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ru-RU" dirty="0"/>
            </a:p>
          </p:txBody>
        </p:sp>
        <p:sp>
          <p:nvSpPr>
            <p:cNvPr id="30" name="Полилиния 29"/>
            <p:cNvSpPr/>
            <p:nvPr userDrawn="1"/>
          </p:nvSpPr>
          <p:spPr>
            <a:xfrm rot="5400000">
              <a:off x="9140724" y="6553165"/>
              <a:ext cx="250444" cy="359227"/>
            </a:xfrm>
            <a:custGeom>
              <a:avLst/>
              <a:gdLst>
                <a:gd name="connsiteX0" fmla="*/ 0 w 250444"/>
                <a:gd name="connsiteY0" fmla="*/ 359227 h 359227"/>
                <a:gd name="connsiteX1" fmla="*/ 250444 w 250444"/>
                <a:gd name="connsiteY1" fmla="*/ 0 h 359227"/>
                <a:gd name="connsiteX2" fmla="*/ 250444 w 250444"/>
                <a:gd name="connsiteY2" fmla="*/ 305559 h 359227"/>
                <a:gd name="connsiteX3" fmla="*/ 0 w 250444"/>
                <a:gd name="connsiteY3" fmla="*/ 359227 h 359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444" h="359227">
                  <a:moveTo>
                    <a:pt x="0" y="359227"/>
                  </a:moveTo>
                  <a:lnTo>
                    <a:pt x="250444" y="0"/>
                  </a:lnTo>
                  <a:lnTo>
                    <a:pt x="250444" y="305559"/>
                  </a:lnTo>
                  <a:lnTo>
                    <a:pt x="0" y="35922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ru-RU" dirty="0"/>
            </a:p>
          </p:txBody>
        </p:sp>
      </p:grpSp>
      <p:sp>
        <p:nvSpPr>
          <p:cNvPr id="5" name="Объект 4"/>
          <p:cNvSpPr>
            <a:spLocks noGrp="1"/>
          </p:cNvSpPr>
          <p:nvPr>
            <p:ph sz="quarter" idx="13"/>
          </p:nvPr>
        </p:nvSpPr>
        <p:spPr>
          <a:xfrm>
            <a:off x="407989" y="1263567"/>
            <a:ext cx="11376024" cy="516304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07989" y="553787"/>
            <a:ext cx="11376024" cy="586800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EDA017F-ABDB-4A4D-82BE-F6A3BB8B66EF}" type="slidenum">
              <a:rPr lang="ru-RU" smtClean="0"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0" y="411887"/>
            <a:ext cx="407989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407991" y="293736"/>
            <a:ext cx="5391150" cy="260051"/>
          </a:xfrm>
        </p:spPr>
        <p:txBody>
          <a:bodyPr anchor="ctr">
            <a:noAutofit/>
          </a:bodyPr>
          <a:lstStyle>
            <a:lvl1pPr marL="0" indent="0" algn="l" defTabSz="914332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kumimoji="0" lang="ru-RU" sz="1400" b="1" i="0" u="none" strike="noStrike" kern="1200" cap="all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Раздел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/>
          </p:nvPr>
        </p:nvSpPr>
        <p:spPr>
          <a:xfrm>
            <a:off x="407988" y="6497999"/>
            <a:ext cx="3924299" cy="360001"/>
          </a:xfrm>
          <a:noFill/>
        </p:spPr>
        <p:txBody>
          <a:bodyPr wrap="square" rtlCol="0" anchor="ctr">
            <a:noAutofit/>
          </a:bodyPr>
          <a:lstStyle>
            <a:lvl1pPr>
              <a:defRPr kumimoji="0" lang="ru-RU" sz="1200" b="0" i="0" u="none" strike="noStrike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defRPr>
            </a:lvl1pPr>
          </a:lstStyle>
          <a:p>
            <a:pPr marR="0" lvl="0" defTabSz="9143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101095495"/>
      </p:ext>
    </p:extLst>
  </p:cSld>
  <p:clrMapOvr>
    <a:masterClrMapping/>
  </p:clrMapOvr>
  <p:transition spd="slow">
    <p:cut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54DF-5B35-4496-97D5-F1D5438EF4DB}" type="datetimeFigureOut">
              <a:rPr lang="ru-RU" smtClean="0"/>
              <a:t>06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A017F-ABDB-4A4D-82BE-F6A3BB8B66E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1997185"/>
      </p:ext>
    </p:extLst>
  </p:cSld>
  <p:clrMapOvr>
    <a:masterClrMapping/>
  </p:clrMapOvr>
  <p:transition spd="slow">
    <p:cut/>
  </p:transition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54DF-5B35-4496-97D5-F1D5438EF4DB}" type="datetimeFigureOut">
              <a:rPr lang="ru-RU" smtClean="0"/>
              <a:t>06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A017F-ABDB-4A4D-82BE-F6A3BB8B66E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0064329"/>
      </p:ext>
    </p:extLst>
  </p:cSld>
  <p:clrMapOvr>
    <a:masterClrMapping/>
  </p:clrMapOvr>
  <p:transition spd="slow">
    <p:cut/>
  </p:transition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54DF-5B35-4496-97D5-F1D5438EF4DB}" type="datetimeFigureOut">
              <a:rPr lang="ru-RU" smtClean="0"/>
              <a:t>06.04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A017F-ABDB-4A4D-82BE-F6A3BB8B66E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6692562"/>
      </p:ext>
    </p:extLst>
  </p:cSld>
  <p:clrMapOvr>
    <a:masterClrMapping/>
  </p:clrMapOvr>
  <p:transition spd="slow">
    <p:cut/>
  </p:transition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54DF-5B35-4496-97D5-F1D5438EF4DB}" type="datetimeFigureOut">
              <a:rPr lang="ru-RU" smtClean="0"/>
              <a:t>06.04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A017F-ABDB-4A4D-82BE-F6A3BB8B66E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9765967"/>
      </p:ext>
    </p:extLst>
  </p:cSld>
  <p:clrMapOvr>
    <a:masterClrMapping/>
  </p:clrMapOvr>
  <p:transition spd="slow">
    <p:cut/>
  </p:transition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54DF-5B35-4496-97D5-F1D5438EF4DB}" type="datetimeFigureOut">
              <a:rPr lang="ru-RU" smtClean="0"/>
              <a:t>06.04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A017F-ABDB-4A4D-82BE-F6A3BB8B66EF}" type="slidenum">
              <a:rPr lang="ru-RU" smtClean="0"/>
              <a:t>‹#›</a:t>
            </a:fld>
            <a:endParaRPr lang="ru-RU" dirty="0"/>
          </a:p>
        </p:txBody>
      </p:sp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72158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04868588"/>
      </p:ext>
    </p:extLst>
  </p:cSld>
  <p:clrMapOvr>
    <a:masterClrMapping/>
  </p:clrMapOvr>
  <p:transition spd="slow">
    <p:cut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54DF-5B35-4496-97D5-F1D5438EF4DB}" type="datetimeFigureOut">
              <a:rPr lang="ru-RU" smtClean="0"/>
              <a:t>06.04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A017F-ABDB-4A4D-82BE-F6A3BB8B66E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962461"/>
      </p:ext>
    </p:extLst>
  </p:cSld>
  <p:clrMapOvr>
    <a:masterClrMapping/>
  </p:clrMapOvr>
  <p:transition spd="slow">
    <p:cut/>
  </p:transition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54DF-5B35-4496-97D5-F1D5438EF4DB}" type="datetimeFigureOut">
              <a:rPr lang="ru-RU" smtClean="0"/>
              <a:t>06.04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A017F-ABDB-4A4D-82BE-F6A3BB8B66E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2055202"/>
      </p:ext>
    </p:extLst>
  </p:cSld>
  <p:clrMapOvr>
    <a:masterClrMapping/>
  </p:clrMapOvr>
  <p:transition spd="slow">
    <p:cut/>
  </p:transition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54DF-5B35-4496-97D5-F1D5438EF4DB}" type="datetimeFigureOut">
              <a:rPr lang="ru-RU" smtClean="0"/>
              <a:t>06.04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A017F-ABDB-4A4D-82BE-F6A3BB8B66E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4212716"/>
      </p:ext>
    </p:extLst>
  </p:cSld>
  <p:clrMapOvr>
    <a:masterClrMapping/>
  </p:clrMapOvr>
  <p:transition spd="slow">
    <p:cut/>
  </p:transition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9754DF-5B35-4496-97D5-F1D5438EF4DB}" type="datetimeFigureOut">
              <a:rPr lang="ru-RU" smtClean="0"/>
              <a:t>06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A017F-ABDB-4A4D-82BE-F6A3BB8B66EF}" type="slidenum">
              <a:rPr lang="ru-RU" smtClean="0"/>
              <a:t>‹#›</a:t>
            </a:fld>
            <a:endParaRPr lang="ru-RU" dirty="0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310745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8729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61" r:id="rId13"/>
    <p:sldLayoutId id="2147483680" r:id="rId14"/>
  </p:sldLayoutIdLst>
  <p:transition spd="slow">
    <p:cut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microsoft.com/office/2017/06/relationships/model3d" Target="../media/model3d1.glb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microsoft.com/office/2017/06/relationships/model3d" Target="../media/model3d1.glb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6" Type="http://schemas.microsoft.com/office/2017/06/relationships/model3d" Target="../media/model3d1.glb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6" Type="http://schemas.microsoft.com/office/2017/06/relationships/model3d" Target="../media/model3d1.glb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6" Type="http://schemas.microsoft.com/office/2017/06/relationships/model3d" Target="../media/model3d1.glb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7.xml"/><Relationship Id="rId7" Type="http://schemas.microsoft.com/office/2017/06/relationships/model3d" Target="../media/model3d1.glb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Relationship Id="rId6" Type="http://schemas.openxmlformats.org/officeDocument/2006/relationships/hyperlink" Target="https://public.tableau.com/app/profile/andrey.trifonov/viz/CL-DAProject3Team1/Dashboard1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6" Type="http://schemas.microsoft.com/office/2017/06/relationships/model3d" Target="../media/model3d1.glb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9.xml"/><Relationship Id="rId7" Type="http://schemas.microsoft.com/office/2017/06/relationships/model3d" Target="../media/model3d1.glb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latin typeface="+mj-lt"/>
              <a:sym typeface="+mj-lt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9"/>
          <a:stretch/>
        </p:blipFill>
        <p:spPr>
          <a:xfrm>
            <a:off x="0" y="0"/>
            <a:ext cx="12192000" cy="6887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2565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98F9044-E81C-E0EF-5EFD-FBFED6AC5FED}"/>
              </a:ext>
            </a:extLst>
          </p:cNvPr>
          <p:cNvSpPr/>
          <p:nvPr/>
        </p:nvSpPr>
        <p:spPr>
          <a:xfrm>
            <a:off x="323850" y="2148567"/>
            <a:ext cx="6019798" cy="411498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latin typeface="+mj-lt"/>
              <a:sym typeface="+mj-lt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14351" y="2431214"/>
            <a:ext cx="5753100" cy="3549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ru-RU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Провели корреляционный анализ факторов с целевым признаком, не забыв проверку на </a:t>
            </a:r>
            <a:r>
              <a:rPr lang="ru-RU" dirty="0" err="1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мультиколлинеарность</a:t>
            </a:r>
            <a:r>
              <a:rPr lang="ru-RU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.</a:t>
            </a:r>
            <a:endParaRPr lang="en-US" dirty="0">
              <a:solidFill>
                <a:schemeClr val="bg1"/>
              </a:solidFill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marL="514350" indent="-51435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ru-RU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Отобрали 14 самых многообещающих факторов для будущей модели.</a:t>
            </a:r>
          </a:p>
          <a:p>
            <a:pPr marL="514350" indent="-51435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ru-RU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Создали цикл перебора этих факторов в комбинациях по 2 / 3 / 4 / 5 для нашей модели.</a:t>
            </a:r>
          </a:p>
          <a:p>
            <a:pPr marL="514350" indent="-51435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ru-RU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Нашли лучшее сочетание факторов</a:t>
            </a:r>
            <a:r>
              <a:rPr lang="en-US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r>
              <a:rPr lang="ru-RU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для самой высокой точности предсказания.</a:t>
            </a:r>
          </a:p>
          <a:p>
            <a:pPr marL="514350" indent="-51435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ru-RU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Сделали предсказания исходов всех возможных матчей по имеющимся командам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23849" y="1625347"/>
            <a:ext cx="50387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Что сделали?</a:t>
            </a:r>
          </a:p>
        </p:txBody>
      </p:sp>
      <p:sp>
        <p:nvSpPr>
          <p:cNvPr id="9" name="TextBox 35">
            <a:extLst>
              <a:ext uri="{FF2B5EF4-FFF2-40B4-BE49-F238E27FC236}">
                <a16:creationId xmlns:a16="http://schemas.microsoft.com/office/drawing/2014/main" id="{00000000-0008-0000-0E00-000024000000}"/>
              </a:ext>
            </a:extLst>
          </p:cNvPr>
          <p:cNvSpPr txBox="1"/>
          <p:nvPr/>
        </p:nvSpPr>
        <p:spPr>
          <a:xfrm>
            <a:off x="664254" y="443861"/>
            <a:ext cx="11053264" cy="1015663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b="1" dirty="0">
                <a:solidFill>
                  <a:schemeClr val="accent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JURITER NOTEBOOK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877050" y="1795143"/>
            <a:ext cx="4486275" cy="4385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15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7</a:t>
            </a:r>
            <a:r>
              <a:rPr lang="ru-RU" sz="6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r>
              <a:rPr lang="ru-RU" sz="8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тысяч</a:t>
            </a:r>
            <a:endParaRPr lang="ru-RU" sz="6600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algn="just"/>
            <a:r>
              <a:rPr lang="ru-RU" sz="44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КОМБИНАЦИЙ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</a:p>
          <a:p>
            <a:pPr algn="just"/>
            <a:endParaRPr lang="ru-RU" sz="2400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algn="just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ы перебрали, чтобы идентифицировать лучшие факторы и обучить самую точную модель </a:t>
            </a:r>
          </a:p>
        </p:txBody>
      </p:sp>
    </p:spTree>
    <p:extLst>
      <p:ext uri="{BB962C8B-B14F-4D97-AF65-F5344CB8AC3E}">
        <p14:creationId xmlns:p14="http://schemas.microsoft.com/office/powerpoint/2010/main" val="849414177"/>
      </p:ext>
    </p:extLst>
  </p:cSld>
  <p:clrMapOvr>
    <a:masterClrMapping/>
  </p:clrMapOvr>
  <p:transition spd="slow">
    <p:cut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2" name="3D Model 1" descr="Football">
                <a:extLst>
                  <a:ext uri="{FF2B5EF4-FFF2-40B4-BE49-F238E27FC236}">
                    <a16:creationId xmlns:a16="http://schemas.microsoft.com/office/drawing/2014/main" id="{59467E1B-A99B-C79F-850F-BB4A2D2253A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889526536"/>
                  </p:ext>
                </p:extLst>
              </p:nvPr>
            </p:nvGraphicFramePr>
            <p:xfrm>
              <a:off x="3986186" y="5641212"/>
              <a:ext cx="831486" cy="831486"/>
            </p:xfrm>
            <a:graphic>
              <a:graphicData uri="http://schemas.microsoft.com/office/drawing/2017/model3d">
                <am3d:model3d r:embed="rId4">
                  <am3d:spPr>
                    <a:xfrm>
                      <a:off x="0" y="0"/>
                      <a:ext cx="831486" cy="831486"/>
                    </a:xfrm>
                    <a:prstGeom prst="rect">
                      <a:avLst/>
                    </a:prstGeom>
                  </am3d:spPr>
                  <am3d:camera>
                    <am3d:pos x="0" y="0" z="8146919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4545592" d="1000000"/>
                    <am3d:preTrans dx="-201138" dy="-18600209" dz="-351418"/>
                    <am3d:scale>
                      <am3d:sx n="1000000" d="1000000"/>
                      <am3d:sy n="1000000" d="1000000"/>
                      <am3d:sz n="1000000" d="1000000"/>
                    </am3d:scale>
                    <am3d:rot ax="4376086" ay="2510824" az="-6882560"/>
                    <am3d:postTrans dx="0" dy="0" dz="0"/>
                  </am3d:trans>
                  <am3d:raster rName="Office3DRenderer" rVer="16.0.8326">
                    <am3d:blip r:embed="rId5"/>
                  </am3d:raster>
                  <am3d:objViewport viewportSz="1360613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2" name="3D Model 1" descr="Football">
                <a:extLst>
                  <a:ext uri="{FF2B5EF4-FFF2-40B4-BE49-F238E27FC236}">
                    <a16:creationId xmlns:a16="http://schemas.microsoft.com/office/drawing/2014/main" id="{59467E1B-A99B-C79F-850F-BB4A2D2253A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986186" y="5641212"/>
                <a:ext cx="831486" cy="831486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latin typeface="+mj-lt"/>
              <a:sym typeface="+mj-lt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9"/>
          <a:stretch/>
        </p:blipFill>
        <p:spPr>
          <a:xfrm>
            <a:off x="0" y="0"/>
            <a:ext cx="12192000" cy="6887029"/>
          </a:xfrm>
          <a:prstGeom prst="rect">
            <a:avLst/>
          </a:prstGeom>
        </p:spPr>
      </p:pic>
      <p:grpSp>
        <p:nvGrpSpPr>
          <p:cNvPr id="8" name="Группа 7"/>
          <p:cNvGrpSpPr/>
          <p:nvPr/>
        </p:nvGrpSpPr>
        <p:grpSpPr>
          <a:xfrm>
            <a:off x="0" y="3443514"/>
            <a:ext cx="12192000" cy="3443515"/>
            <a:chOff x="0" y="3443514"/>
            <a:chExt cx="12192000" cy="3443515"/>
          </a:xfrm>
        </p:grpSpPr>
        <p:sp>
          <p:nvSpPr>
            <p:cNvPr id="11" name="Полилиния 10"/>
            <p:cNvSpPr/>
            <p:nvPr/>
          </p:nvSpPr>
          <p:spPr>
            <a:xfrm>
              <a:off x="0" y="3443514"/>
              <a:ext cx="12192000" cy="3443515"/>
            </a:xfrm>
            <a:custGeom>
              <a:avLst/>
              <a:gdLst/>
              <a:ahLst/>
              <a:cxnLst/>
              <a:rect l="l" t="t" r="r" b="b"/>
              <a:pathLst>
                <a:path w="12192000" h="3443515">
                  <a:moveTo>
                    <a:pt x="10457005" y="1277167"/>
                  </a:moveTo>
                  <a:lnTo>
                    <a:pt x="10523231" y="1492856"/>
                  </a:lnTo>
                  <a:lnTo>
                    <a:pt x="10391469" y="1492856"/>
                  </a:lnTo>
                  <a:close/>
                  <a:moveTo>
                    <a:pt x="8409130" y="1277167"/>
                  </a:moveTo>
                  <a:lnTo>
                    <a:pt x="8475356" y="1492856"/>
                  </a:lnTo>
                  <a:lnTo>
                    <a:pt x="8343595" y="1492856"/>
                  </a:lnTo>
                  <a:close/>
                  <a:moveTo>
                    <a:pt x="9718390" y="1268981"/>
                  </a:moveTo>
                  <a:lnTo>
                    <a:pt x="9867366" y="1268981"/>
                  </a:lnTo>
                  <a:lnTo>
                    <a:pt x="9867366" y="1583306"/>
                  </a:lnTo>
                  <a:lnTo>
                    <a:pt x="9676234" y="1583306"/>
                  </a:lnTo>
                  <a:cubicBezTo>
                    <a:pt x="9704337" y="1461888"/>
                    <a:pt x="9718390" y="1359705"/>
                    <a:pt x="9718390" y="1276758"/>
                  </a:cubicBezTo>
                  <a:close/>
                  <a:moveTo>
                    <a:pt x="6945126" y="1251792"/>
                  </a:moveTo>
                  <a:cubicBezTo>
                    <a:pt x="6984144" y="1251792"/>
                    <a:pt x="7015045" y="1264821"/>
                    <a:pt x="7037828" y="1290878"/>
                  </a:cubicBezTo>
                  <a:cubicBezTo>
                    <a:pt x="7060611" y="1316935"/>
                    <a:pt x="7072002" y="1358204"/>
                    <a:pt x="7072002" y="1414684"/>
                  </a:cubicBezTo>
                  <a:cubicBezTo>
                    <a:pt x="7072002" y="1481806"/>
                    <a:pt x="7061089" y="1528327"/>
                    <a:pt x="7039260" y="1554248"/>
                  </a:cubicBezTo>
                  <a:cubicBezTo>
                    <a:pt x="7017432" y="1580169"/>
                    <a:pt x="6986600" y="1593129"/>
                    <a:pt x="6946764" y="1593129"/>
                  </a:cubicBezTo>
                  <a:cubicBezTo>
                    <a:pt x="6908019" y="1593129"/>
                    <a:pt x="6877391" y="1579896"/>
                    <a:pt x="6854881" y="1553429"/>
                  </a:cubicBezTo>
                  <a:cubicBezTo>
                    <a:pt x="6832371" y="1526963"/>
                    <a:pt x="6821115" y="1483443"/>
                    <a:pt x="6821115" y="1422870"/>
                  </a:cubicBezTo>
                  <a:cubicBezTo>
                    <a:pt x="6821115" y="1361751"/>
                    <a:pt x="6832439" y="1317958"/>
                    <a:pt x="6855085" y="1291492"/>
                  </a:cubicBezTo>
                  <a:cubicBezTo>
                    <a:pt x="6877732" y="1265025"/>
                    <a:pt x="6907746" y="1251792"/>
                    <a:pt x="6945126" y="1251792"/>
                  </a:cubicBezTo>
                  <a:close/>
                  <a:moveTo>
                    <a:pt x="2192152" y="1251792"/>
                  </a:moveTo>
                  <a:cubicBezTo>
                    <a:pt x="2231170" y="1251792"/>
                    <a:pt x="2262070" y="1264821"/>
                    <a:pt x="2284853" y="1290878"/>
                  </a:cubicBezTo>
                  <a:cubicBezTo>
                    <a:pt x="2307636" y="1316935"/>
                    <a:pt x="2319028" y="1358204"/>
                    <a:pt x="2319028" y="1414684"/>
                  </a:cubicBezTo>
                  <a:cubicBezTo>
                    <a:pt x="2319028" y="1481806"/>
                    <a:pt x="2308114" y="1528327"/>
                    <a:pt x="2286286" y="1554248"/>
                  </a:cubicBezTo>
                  <a:cubicBezTo>
                    <a:pt x="2264457" y="1580169"/>
                    <a:pt x="2233625" y="1593129"/>
                    <a:pt x="2193789" y="1593129"/>
                  </a:cubicBezTo>
                  <a:cubicBezTo>
                    <a:pt x="2155044" y="1593129"/>
                    <a:pt x="2124417" y="1579896"/>
                    <a:pt x="2101906" y="1553429"/>
                  </a:cubicBezTo>
                  <a:cubicBezTo>
                    <a:pt x="2079396" y="1526963"/>
                    <a:pt x="2068141" y="1483443"/>
                    <a:pt x="2068141" y="1422870"/>
                  </a:cubicBezTo>
                  <a:cubicBezTo>
                    <a:pt x="2068141" y="1361751"/>
                    <a:pt x="2079464" y="1317958"/>
                    <a:pt x="2102111" y="1291492"/>
                  </a:cubicBezTo>
                  <a:cubicBezTo>
                    <a:pt x="2124758" y="1265025"/>
                    <a:pt x="2154771" y="1251792"/>
                    <a:pt x="2192152" y="1251792"/>
                  </a:cubicBezTo>
                  <a:close/>
                  <a:moveTo>
                    <a:pt x="1481870" y="1243606"/>
                  </a:moveTo>
                  <a:lnTo>
                    <a:pt x="1534666" y="1243606"/>
                  </a:lnTo>
                  <a:cubicBezTo>
                    <a:pt x="1569319" y="1243606"/>
                    <a:pt x="1592920" y="1250155"/>
                    <a:pt x="1605471" y="1263252"/>
                  </a:cubicBezTo>
                  <a:cubicBezTo>
                    <a:pt x="1618022" y="1276348"/>
                    <a:pt x="1624298" y="1292310"/>
                    <a:pt x="1624298" y="1311137"/>
                  </a:cubicBezTo>
                  <a:cubicBezTo>
                    <a:pt x="1624298" y="1330509"/>
                    <a:pt x="1617067" y="1346403"/>
                    <a:pt x="1602606" y="1358818"/>
                  </a:cubicBezTo>
                  <a:cubicBezTo>
                    <a:pt x="1588145" y="1371233"/>
                    <a:pt x="1563043" y="1377440"/>
                    <a:pt x="1527299" y="1377440"/>
                  </a:cubicBezTo>
                  <a:lnTo>
                    <a:pt x="1481870" y="1377440"/>
                  </a:lnTo>
                  <a:close/>
                  <a:moveTo>
                    <a:pt x="10358164" y="1121642"/>
                  </a:moveTo>
                  <a:lnTo>
                    <a:pt x="10132653" y="1721642"/>
                  </a:lnTo>
                  <a:lnTo>
                    <a:pt x="10321956" y="1721642"/>
                  </a:lnTo>
                  <a:lnTo>
                    <a:pt x="10351201" y="1622597"/>
                  </a:lnTo>
                  <a:lnTo>
                    <a:pt x="10561690" y="1622597"/>
                  </a:lnTo>
                  <a:lnTo>
                    <a:pt x="10591708" y="1721642"/>
                  </a:lnTo>
                  <a:lnTo>
                    <a:pt x="10785859" y="1721642"/>
                  </a:lnTo>
                  <a:lnTo>
                    <a:pt x="10560399" y="1121642"/>
                  </a:lnTo>
                  <a:close/>
                  <a:moveTo>
                    <a:pt x="9549767" y="1121642"/>
                  </a:moveTo>
                  <a:lnTo>
                    <a:pt x="9549767" y="1255475"/>
                  </a:lnTo>
                  <a:cubicBezTo>
                    <a:pt x="9549767" y="1377167"/>
                    <a:pt x="9532441" y="1486444"/>
                    <a:pt x="9497789" y="1583306"/>
                  </a:cubicBezTo>
                  <a:lnTo>
                    <a:pt x="9435988" y="1583306"/>
                  </a:lnTo>
                  <a:lnTo>
                    <a:pt x="9435988" y="1852202"/>
                  </a:lnTo>
                  <a:lnTo>
                    <a:pt x="9584965" y="1852202"/>
                  </a:lnTo>
                  <a:lnTo>
                    <a:pt x="9584965" y="1721642"/>
                  </a:lnTo>
                  <a:lnTo>
                    <a:pt x="9968049" y="1721642"/>
                  </a:lnTo>
                  <a:lnTo>
                    <a:pt x="9968049" y="1852202"/>
                  </a:lnTo>
                  <a:lnTo>
                    <a:pt x="10117435" y="1852202"/>
                  </a:lnTo>
                  <a:lnTo>
                    <a:pt x="10117435" y="1583306"/>
                  </a:lnTo>
                  <a:lnTo>
                    <a:pt x="10052769" y="1583306"/>
                  </a:lnTo>
                  <a:lnTo>
                    <a:pt x="10052769" y="1121642"/>
                  </a:lnTo>
                  <a:close/>
                  <a:moveTo>
                    <a:pt x="8793460" y="1121642"/>
                  </a:moveTo>
                  <a:lnTo>
                    <a:pt x="8793460" y="1721642"/>
                  </a:lnTo>
                  <a:lnTo>
                    <a:pt x="8978863" y="1721642"/>
                  </a:lnTo>
                  <a:lnTo>
                    <a:pt x="8978863" y="1478941"/>
                  </a:lnTo>
                  <a:lnTo>
                    <a:pt x="9181455" y="1478941"/>
                  </a:lnTo>
                  <a:lnTo>
                    <a:pt x="9181455" y="1721642"/>
                  </a:lnTo>
                  <a:lnTo>
                    <a:pt x="9367676" y="1721642"/>
                  </a:lnTo>
                  <a:lnTo>
                    <a:pt x="9367676" y="1121642"/>
                  </a:lnTo>
                  <a:lnTo>
                    <a:pt x="9181455" y="1121642"/>
                  </a:lnTo>
                  <a:lnTo>
                    <a:pt x="9181455" y="1331601"/>
                  </a:lnTo>
                  <a:lnTo>
                    <a:pt x="8978863" y="1331601"/>
                  </a:lnTo>
                  <a:lnTo>
                    <a:pt x="8978863" y="1121642"/>
                  </a:lnTo>
                  <a:close/>
                  <a:moveTo>
                    <a:pt x="8310290" y="1121642"/>
                  </a:moveTo>
                  <a:lnTo>
                    <a:pt x="8084778" y="1721642"/>
                  </a:lnTo>
                  <a:lnTo>
                    <a:pt x="8274081" y="1721642"/>
                  </a:lnTo>
                  <a:lnTo>
                    <a:pt x="8303326" y="1622597"/>
                  </a:lnTo>
                  <a:lnTo>
                    <a:pt x="8513816" y="1622597"/>
                  </a:lnTo>
                  <a:lnTo>
                    <a:pt x="8543834" y="1721642"/>
                  </a:lnTo>
                  <a:lnTo>
                    <a:pt x="8737984" y="1721642"/>
                  </a:lnTo>
                  <a:lnTo>
                    <a:pt x="8512524" y="1121642"/>
                  </a:lnTo>
                  <a:close/>
                  <a:moveTo>
                    <a:pt x="7352320" y="1121642"/>
                  </a:moveTo>
                  <a:lnTo>
                    <a:pt x="7352320" y="1721642"/>
                  </a:lnTo>
                  <a:lnTo>
                    <a:pt x="7504162" y="1721642"/>
                  </a:lnTo>
                  <a:lnTo>
                    <a:pt x="7504162" y="1264070"/>
                  </a:lnTo>
                  <a:lnTo>
                    <a:pt x="7620940" y="1721642"/>
                  </a:lnTo>
                  <a:lnTo>
                    <a:pt x="7758381" y="1721642"/>
                  </a:lnTo>
                  <a:lnTo>
                    <a:pt x="7875377" y="1264070"/>
                  </a:lnTo>
                  <a:lnTo>
                    <a:pt x="7875377" y="1721642"/>
                  </a:lnTo>
                  <a:lnTo>
                    <a:pt x="8027219" y="1721642"/>
                  </a:lnTo>
                  <a:lnTo>
                    <a:pt x="8027219" y="1121642"/>
                  </a:lnTo>
                  <a:lnTo>
                    <a:pt x="7783539" y="1121642"/>
                  </a:lnTo>
                  <a:lnTo>
                    <a:pt x="7690179" y="1486717"/>
                  </a:lnTo>
                  <a:lnTo>
                    <a:pt x="7596147" y="1121642"/>
                  </a:lnTo>
                  <a:close/>
                  <a:moveTo>
                    <a:pt x="3778437" y="1121642"/>
                  </a:moveTo>
                  <a:lnTo>
                    <a:pt x="3778437" y="1269800"/>
                  </a:lnTo>
                  <a:lnTo>
                    <a:pt x="3967523" y="1269800"/>
                  </a:lnTo>
                  <a:lnTo>
                    <a:pt x="3967523" y="1721642"/>
                  </a:lnTo>
                  <a:lnTo>
                    <a:pt x="4152925" y="1721642"/>
                  </a:lnTo>
                  <a:lnTo>
                    <a:pt x="4152925" y="1269800"/>
                  </a:lnTo>
                  <a:lnTo>
                    <a:pt x="4342011" y="1269800"/>
                  </a:lnTo>
                  <a:lnTo>
                    <a:pt x="4342011" y="1121642"/>
                  </a:lnTo>
                  <a:close/>
                  <a:moveTo>
                    <a:pt x="2600983" y="1121642"/>
                  </a:moveTo>
                  <a:lnTo>
                    <a:pt x="2600983" y="1721642"/>
                  </a:lnTo>
                  <a:lnTo>
                    <a:pt x="3106850" y="1721642"/>
                  </a:lnTo>
                  <a:lnTo>
                    <a:pt x="3106850" y="1585762"/>
                  </a:lnTo>
                  <a:lnTo>
                    <a:pt x="2786795" y="1585762"/>
                  </a:lnTo>
                  <a:lnTo>
                    <a:pt x="2786795" y="1467481"/>
                  </a:lnTo>
                  <a:lnTo>
                    <a:pt x="3075335" y="1467481"/>
                  </a:lnTo>
                  <a:lnTo>
                    <a:pt x="3075335" y="1345107"/>
                  </a:lnTo>
                  <a:lnTo>
                    <a:pt x="2786795" y="1345107"/>
                  </a:lnTo>
                  <a:lnTo>
                    <a:pt x="2786795" y="1249745"/>
                  </a:lnTo>
                  <a:lnTo>
                    <a:pt x="3097845" y="1249745"/>
                  </a:lnTo>
                  <a:lnTo>
                    <a:pt x="3097845" y="1121642"/>
                  </a:lnTo>
                  <a:close/>
                  <a:moveTo>
                    <a:pt x="1295648" y="1121642"/>
                  </a:moveTo>
                  <a:lnTo>
                    <a:pt x="1295648" y="1721642"/>
                  </a:lnTo>
                  <a:lnTo>
                    <a:pt x="1481870" y="1721642"/>
                  </a:lnTo>
                  <a:lnTo>
                    <a:pt x="1481870" y="1498995"/>
                  </a:lnTo>
                  <a:lnTo>
                    <a:pt x="1583371" y="1498995"/>
                  </a:lnTo>
                  <a:cubicBezTo>
                    <a:pt x="1658132" y="1498995"/>
                    <a:pt x="1713725" y="1481942"/>
                    <a:pt x="1750151" y="1447836"/>
                  </a:cubicBezTo>
                  <a:cubicBezTo>
                    <a:pt x="1786577" y="1413729"/>
                    <a:pt x="1804789" y="1366389"/>
                    <a:pt x="1804789" y="1305816"/>
                  </a:cubicBezTo>
                  <a:cubicBezTo>
                    <a:pt x="1804789" y="1246881"/>
                    <a:pt x="1788077" y="1201451"/>
                    <a:pt x="1754653" y="1169527"/>
                  </a:cubicBezTo>
                  <a:cubicBezTo>
                    <a:pt x="1721229" y="1137603"/>
                    <a:pt x="1670956" y="1121642"/>
                    <a:pt x="1603834" y="1121642"/>
                  </a:cubicBezTo>
                  <a:close/>
                  <a:moveTo>
                    <a:pt x="601961" y="1121642"/>
                  </a:moveTo>
                  <a:lnTo>
                    <a:pt x="601961" y="1721642"/>
                  </a:lnTo>
                  <a:lnTo>
                    <a:pt x="786954" y="1721642"/>
                  </a:lnTo>
                  <a:lnTo>
                    <a:pt x="786954" y="1268981"/>
                  </a:lnTo>
                  <a:lnTo>
                    <a:pt x="990774" y="1268981"/>
                  </a:lnTo>
                  <a:lnTo>
                    <a:pt x="990774" y="1721642"/>
                  </a:lnTo>
                  <a:lnTo>
                    <a:pt x="1175767" y="1721642"/>
                  </a:lnTo>
                  <a:lnTo>
                    <a:pt x="1175767" y="1121642"/>
                  </a:lnTo>
                  <a:close/>
                  <a:moveTo>
                    <a:pt x="6575772" y="1117140"/>
                  </a:moveTo>
                  <a:cubicBezTo>
                    <a:pt x="6507559" y="1117140"/>
                    <a:pt x="6457491" y="1120687"/>
                    <a:pt x="6425567" y="1127781"/>
                  </a:cubicBezTo>
                  <a:cubicBezTo>
                    <a:pt x="6393644" y="1134875"/>
                    <a:pt x="6370588" y="1146539"/>
                    <a:pt x="6356400" y="1162774"/>
                  </a:cubicBezTo>
                  <a:cubicBezTo>
                    <a:pt x="6342211" y="1179009"/>
                    <a:pt x="6328159" y="1205816"/>
                    <a:pt x="6314244" y="1243197"/>
                  </a:cubicBezTo>
                  <a:cubicBezTo>
                    <a:pt x="6295144" y="1293675"/>
                    <a:pt x="6281093" y="1324234"/>
                    <a:pt x="6272088" y="1334875"/>
                  </a:cubicBezTo>
                  <a:cubicBezTo>
                    <a:pt x="6263084" y="1345516"/>
                    <a:pt x="6250533" y="1351246"/>
                    <a:pt x="6234435" y="1352065"/>
                  </a:cubicBezTo>
                  <a:lnTo>
                    <a:pt x="6234435" y="1121642"/>
                  </a:lnTo>
                  <a:lnTo>
                    <a:pt x="6049442" y="1121642"/>
                  </a:lnTo>
                  <a:lnTo>
                    <a:pt x="6049442" y="1721642"/>
                  </a:lnTo>
                  <a:lnTo>
                    <a:pt x="6234435" y="1721642"/>
                  </a:lnTo>
                  <a:lnTo>
                    <a:pt x="6234435" y="1484261"/>
                  </a:lnTo>
                  <a:cubicBezTo>
                    <a:pt x="6251275" y="1484261"/>
                    <a:pt x="6264448" y="1488841"/>
                    <a:pt x="6273956" y="1498001"/>
                  </a:cubicBezTo>
                  <a:cubicBezTo>
                    <a:pt x="6283463" y="1507161"/>
                    <a:pt x="6296773" y="1530062"/>
                    <a:pt x="6313886" y="1566705"/>
                  </a:cubicBezTo>
                  <a:lnTo>
                    <a:pt x="6386200" y="1721642"/>
                  </a:lnTo>
                  <a:lnTo>
                    <a:pt x="6595008" y="1721642"/>
                  </a:lnTo>
                  <a:lnTo>
                    <a:pt x="6513562" y="1557522"/>
                  </a:lnTo>
                  <a:cubicBezTo>
                    <a:pt x="6491188" y="1512229"/>
                    <a:pt x="6470043" y="1478873"/>
                    <a:pt x="6450124" y="1457454"/>
                  </a:cubicBezTo>
                  <a:cubicBezTo>
                    <a:pt x="6430206" y="1436035"/>
                    <a:pt x="6406877" y="1420960"/>
                    <a:pt x="6380138" y="1412229"/>
                  </a:cubicBezTo>
                  <a:cubicBezTo>
                    <a:pt x="6399783" y="1404316"/>
                    <a:pt x="6415267" y="1393743"/>
                    <a:pt x="6426591" y="1380510"/>
                  </a:cubicBezTo>
                  <a:cubicBezTo>
                    <a:pt x="6437914" y="1367276"/>
                    <a:pt x="6448487" y="1347222"/>
                    <a:pt x="6458310" y="1320346"/>
                  </a:cubicBezTo>
                  <a:cubicBezTo>
                    <a:pt x="6468132" y="1293470"/>
                    <a:pt x="6480684" y="1274029"/>
                    <a:pt x="6495963" y="1262024"/>
                  </a:cubicBezTo>
                  <a:cubicBezTo>
                    <a:pt x="6511243" y="1250018"/>
                    <a:pt x="6534709" y="1244016"/>
                    <a:pt x="6566359" y="1244016"/>
                  </a:cubicBezTo>
                  <a:lnTo>
                    <a:pt x="6575772" y="1244016"/>
                  </a:lnTo>
                  <a:close/>
                  <a:moveTo>
                    <a:pt x="3737323" y="1117140"/>
                  </a:moveTo>
                  <a:cubicBezTo>
                    <a:pt x="3669110" y="1117140"/>
                    <a:pt x="3619042" y="1120687"/>
                    <a:pt x="3587118" y="1127781"/>
                  </a:cubicBezTo>
                  <a:cubicBezTo>
                    <a:pt x="3555195" y="1134875"/>
                    <a:pt x="3532139" y="1146539"/>
                    <a:pt x="3517950" y="1162774"/>
                  </a:cubicBezTo>
                  <a:cubicBezTo>
                    <a:pt x="3503762" y="1179009"/>
                    <a:pt x="3489710" y="1205816"/>
                    <a:pt x="3475794" y="1243197"/>
                  </a:cubicBezTo>
                  <a:cubicBezTo>
                    <a:pt x="3456695" y="1293675"/>
                    <a:pt x="3442643" y="1324234"/>
                    <a:pt x="3433639" y="1334875"/>
                  </a:cubicBezTo>
                  <a:cubicBezTo>
                    <a:pt x="3424635" y="1345516"/>
                    <a:pt x="3412084" y="1351246"/>
                    <a:pt x="3395986" y="1352065"/>
                  </a:cubicBezTo>
                  <a:lnTo>
                    <a:pt x="3395986" y="1121642"/>
                  </a:lnTo>
                  <a:lnTo>
                    <a:pt x="3210992" y="1121642"/>
                  </a:lnTo>
                  <a:lnTo>
                    <a:pt x="3210992" y="1721642"/>
                  </a:lnTo>
                  <a:lnTo>
                    <a:pt x="3395986" y="1721642"/>
                  </a:lnTo>
                  <a:lnTo>
                    <a:pt x="3395986" y="1484261"/>
                  </a:lnTo>
                  <a:cubicBezTo>
                    <a:pt x="3412825" y="1484261"/>
                    <a:pt x="3425999" y="1488841"/>
                    <a:pt x="3435506" y="1498001"/>
                  </a:cubicBezTo>
                  <a:cubicBezTo>
                    <a:pt x="3445014" y="1507161"/>
                    <a:pt x="3458324" y="1530062"/>
                    <a:pt x="3475436" y="1566705"/>
                  </a:cubicBezTo>
                  <a:lnTo>
                    <a:pt x="3547751" y="1721642"/>
                  </a:lnTo>
                  <a:lnTo>
                    <a:pt x="3756559" y="1721642"/>
                  </a:lnTo>
                  <a:lnTo>
                    <a:pt x="3675113" y="1557522"/>
                  </a:lnTo>
                  <a:cubicBezTo>
                    <a:pt x="3652739" y="1512229"/>
                    <a:pt x="3631593" y="1478873"/>
                    <a:pt x="3611675" y="1457454"/>
                  </a:cubicBezTo>
                  <a:cubicBezTo>
                    <a:pt x="3591757" y="1436035"/>
                    <a:pt x="3568428" y="1420960"/>
                    <a:pt x="3541688" y="1412229"/>
                  </a:cubicBezTo>
                  <a:cubicBezTo>
                    <a:pt x="3561334" y="1404316"/>
                    <a:pt x="3576818" y="1393743"/>
                    <a:pt x="3588141" y="1380510"/>
                  </a:cubicBezTo>
                  <a:cubicBezTo>
                    <a:pt x="3599465" y="1367276"/>
                    <a:pt x="3610038" y="1347222"/>
                    <a:pt x="3619860" y="1320346"/>
                  </a:cubicBezTo>
                  <a:cubicBezTo>
                    <a:pt x="3629683" y="1293470"/>
                    <a:pt x="3642234" y="1274029"/>
                    <a:pt x="3657514" y="1262024"/>
                  </a:cubicBezTo>
                  <a:cubicBezTo>
                    <a:pt x="3672793" y="1250018"/>
                    <a:pt x="3696259" y="1244016"/>
                    <a:pt x="3727910" y="1244016"/>
                  </a:cubicBezTo>
                  <a:lnTo>
                    <a:pt x="3737323" y="1244016"/>
                  </a:lnTo>
                  <a:close/>
                  <a:moveTo>
                    <a:pt x="11348616" y="1111410"/>
                  </a:moveTo>
                  <a:cubicBezTo>
                    <a:pt x="11330881" y="1149063"/>
                    <a:pt x="11306324" y="1180714"/>
                    <a:pt x="11274946" y="1206362"/>
                  </a:cubicBezTo>
                  <a:cubicBezTo>
                    <a:pt x="11243567" y="1232010"/>
                    <a:pt x="11199503" y="1253975"/>
                    <a:pt x="11142749" y="1272256"/>
                  </a:cubicBezTo>
                  <a:lnTo>
                    <a:pt x="11142749" y="1408954"/>
                  </a:lnTo>
                  <a:cubicBezTo>
                    <a:pt x="11181221" y="1397222"/>
                    <a:pt x="11213213" y="1384943"/>
                    <a:pt x="11238725" y="1372119"/>
                  </a:cubicBezTo>
                  <a:cubicBezTo>
                    <a:pt x="11264236" y="1359295"/>
                    <a:pt x="11290634" y="1342515"/>
                    <a:pt x="11317920" y="1321778"/>
                  </a:cubicBezTo>
                  <a:lnTo>
                    <a:pt x="11317920" y="1721642"/>
                  </a:lnTo>
                  <a:lnTo>
                    <a:pt x="11486542" y="1721642"/>
                  </a:lnTo>
                  <a:lnTo>
                    <a:pt x="11486542" y="1111410"/>
                  </a:lnTo>
                  <a:close/>
                  <a:moveTo>
                    <a:pt x="6945536" y="1111410"/>
                  </a:moveTo>
                  <a:cubicBezTo>
                    <a:pt x="6848128" y="1111410"/>
                    <a:pt x="6772139" y="1138695"/>
                    <a:pt x="6717568" y="1193265"/>
                  </a:cubicBezTo>
                  <a:cubicBezTo>
                    <a:pt x="6662998" y="1247836"/>
                    <a:pt x="6635713" y="1324098"/>
                    <a:pt x="6635713" y="1422051"/>
                  </a:cubicBezTo>
                  <a:cubicBezTo>
                    <a:pt x="6635713" y="1492174"/>
                    <a:pt x="6649492" y="1550564"/>
                    <a:pt x="6677050" y="1597222"/>
                  </a:cubicBezTo>
                  <a:cubicBezTo>
                    <a:pt x="6704608" y="1643880"/>
                    <a:pt x="6740556" y="1677986"/>
                    <a:pt x="6784894" y="1699541"/>
                  </a:cubicBezTo>
                  <a:cubicBezTo>
                    <a:pt x="6829233" y="1721096"/>
                    <a:pt x="6885235" y="1731874"/>
                    <a:pt x="6952903" y="1731874"/>
                  </a:cubicBezTo>
                  <a:cubicBezTo>
                    <a:pt x="7019478" y="1731874"/>
                    <a:pt x="7075072" y="1719391"/>
                    <a:pt x="7119683" y="1694425"/>
                  </a:cubicBezTo>
                  <a:cubicBezTo>
                    <a:pt x="7164294" y="1669459"/>
                    <a:pt x="7198401" y="1634534"/>
                    <a:pt x="7222003" y="1589650"/>
                  </a:cubicBezTo>
                  <a:cubicBezTo>
                    <a:pt x="7245604" y="1544766"/>
                    <a:pt x="7257405" y="1487263"/>
                    <a:pt x="7257405" y="1417140"/>
                  </a:cubicBezTo>
                  <a:cubicBezTo>
                    <a:pt x="7257405" y="1320550"/>
                    <a:pt x="7230393" y="1245448"/>
                    <a:pt x="7176368" y="1191833"/>
                  </a:cubicBezTo>
                  <a:cubicBezTo>
                    <a:pt x="7122344" y="1138217"/>
                    <a:pt x="7045399" y="1111410"/>
                    <a:pt x="6945536" y="1111410"/>
                  </a:cubicBezTo>
                  <a:close/>
                  <a:moveTo>
                    <a:pt x="5633494" y="1111410"/>
                  </a:moveTo>
                  <a:lnTo>
                    <a:pt x="5483634" y="1731874"/>
                  </a:lnTo>
                  <a:lnTo>
                    <a:pt x="5567850" y="1731874"/>
                  </a:lnTo>
                  <a:lnTo>
                    <a:pt x="5718559" y="1111410"/>
                  </a:lnTo>
                  <a:close/>
                  <a:moveTo>
                    <a:pt x="4917195" y="1111410"/>
                  </a:moveTo>
                  <a:cubicBezTo>
                    <a:pt x="4848982" y="1111410"/>
                    <a:pt x="4796254" y="1124779"/>
                    <a:pt x="4759010" y="1151519"/>
                  </a:cubicBezTo>
                  <a:cubicBezTo>
                    <a:pt x="4721765" y="1178258"/>
                    <a:pt x="4696595" y="1216730"/>
                    <a:pt x="4683498" y="1266935"/>
                  </a:cubicBezTo>
                  <a:lnTo>
                    <a:pt x="4841069" y="1295175"/>
                  </a:lnTo>
                  <a:cubicBezTo>
                    <a:pt x="4845435" y="1265434"/>
                    <a:pt x="4853757" y="1244629"/>
                    <a:pt x="4866036" y="1232760"/>
                  </a:cubicBezTo>
                  <a:cubicBezTo>
                    <a:pt x="4878314" y="1220891"/>
                    <a:pt x="4894276" y="1214957"/>
                    <a:pt x="4913921" y="1214957"/>
                  </a:cubicBezTo>
                  <a:cubicBezTo>
                    <a:pt x="4933020" y="1214957"/>
                    <a:pt x="4948027" y="1220414"/>
                    <a:pt x="4958941" y="1231328"/>
                  </a:cubicBezTo>
                  <a:cubicBezTo>
                    <a:pt x="4969856" y="1242242"/>
                    <a:pt x="4975312" y="1256840"/>
                    <a:pt x="4975312" y="1275121"/>
                  </a:cubicBezTo>
                  <a:cubicBezTo>
                    <a:pt x="4975312" y="1294220"/>
                    <a:pt x="4968014" y="1310728"/>
                    <a:pt x="4953416" y="1324643"/>
                  </a:cubicBezTo>
                  <a:cubicBezTo>
                    <a:pt x="4938819" y="1338559"/>
                    <a:pt x="4920606" y="1345516"/>
                    <a:pt x="4898778" y="1345516"/>
                  </a:cubicBezTo>
                  <a:cubicBezTo>
                    <a:pt x="4893594" y="1345516"/>
                    <a:pt x="4886363" y="1344834"/>
                    <a:pt x="4877086" y="1343470"/>
                  </a:cubicBezTo>
                  <a:lnTo>
                    <a:pt x="4868491" y="1462570"/>
                  </a:lnTo>
                  <a:cubicBezTo>
                    <a:pt x="4891411" y="1456021"/>
                    <a:pt x="4909420" y="1452747"/>
                    <a:pt x="4922516" y="1452747"/>
                  </a:cubicBezTo>
                  <a:cubicBezTo>
                    <a:pt x="4947073" y="1452747"/>
                    <a:pt x="4966513" y="1460387"/>
                    <a:pt x="4980838" y="1475667"/>
                  </a:cubicBezTo>
                  <a:cubicBezTo>
                    <a:pt x="4995163" y="1490946"/>
                    <a:pt x="5002325" y="1512502"/>
                    <a:pt x="5002325" y="1540332"/>
                  </a:cubicBezTo>
                  <a:cubicBezTo>
                    <a:pt x="5002325" y="1567617"/>
                    <a:pt x="4994890" y="1589446"/>
                    <a:pt x="4980019" y="1605817"/>
                  </a:cubicBezTo>
                  <a:cubicBezTo>
                    <a:pt x="4965149" y="1622188"/>
                    <a:pt x="4946526" y="1630373"/>
                    <a:pt x="4924153" y="1630373"/>
                  </a:cubicBezTo>
                  <a:cubicBezTo>
                    <a:pt x="4902871" y="1630373"/>
                    <a:pt x="4885339" y="1623893"/>
                    <a:pt x="4871561" y="1610933"/>
                  </a:cubicBezTo>
                  <a:cubicBezTo>
                    <a:pt x="4857782" y="1597972"/>
                    <a:pt x="4847618" y="1574712"/>
                    <a:pt x="4841069" y="1541151"/>
                  </a:cubicBezTo>
                  <a:lnTo>
                    <a:pt x="4674494" y="1563252"/>
                  </a:lnTo>
                  <a:cubicBezTo>
                    <a:pt x="4685407" y="1600633"/>
                    <a:pt x="4701029" y="1631669"/>
                    <a:pt x="4721356" y="1656363"/>
                  </a:cubicBezTo>
                  <a:cubicBezTo>
                    <a:pt x="4741683" y="1681056"/>
                    <a:pt x="4767604" y="1699814"/>
                    <a:pt x="4799119" y="1712638"/>
                  </a:cubicBezTo>
                  <a:cubicBezTo>
                    <a:pt x="4830633" y="1725462"/>
                    <a:pt x="4873675" y="1731874"/>
                    <a:pt x="4928246" y="1731874"/>
                  </a:cubicBezTo>
                  <a:cubicBezTo>
                    <a:pt x="4984180" y="1731874"/>
                    <a:pt x="5029337" y="1723211"/>
                    <a:pt x="5063716" y="1705885"/>
                  </a:cubicBezTo>
                  <a:cubicBezTo>
                    <a:pt x="5098096" y="1688559"/>
                    <a:pt x="5124426" y="1663866"/>
                    <a:pt x="5142707" y="1631806"/>
                  </a:cubicBezTo>
                  <a:cubicBezTo>
                    <a:pt x="5160988" y="1599746"/>
                    <a:pt x="5170129" y="1566253"/>
                    <a:pt x="5170129" y="1531328"/>
                  </a:cubicBezTo>
                  <a:cubicBezTo>
                    <a:pt x="5170129" y="1503497"/>
                    <a:pt x="5164603" y="1479555"/>
                    <a:pt x="5153553" y="1459500"/>
                  </a:cubicBezTo>
                  <a:cubicBezTo>
                    <a:pt x="5142502" y="1439445"/>
                    <a:pt x="5127018" y="1423279"/>
                    <a:pt x="5107100" y="1411001"/>
                  </a:cubicBezTo>
                  <a:cubicBezTo>
                    <a:pt x="5094821" y="1403361"/>
                    <a:pt x="5077086" y="1396676"/>
                    <a:pt x="5053894" y="1390946"/>
                  </a:cubicBezTo>
                  <a:cubicBezTo>
                    <a:pt x="5082543" y="1375121"/>
                    <a:pt x="5103963" y="1356703"/>
                    <a:pt x="5118150" y="1335694"/>
                  </a:cubicBezTo>
                  <a:cubicBezTo>
                    <a:pt x="5132339" y="1314684"/>
                    <a:pt x="5139433" y="1291219"/>
                    <a:pt x="5139433" y="1265298"/>
                  </a:cubicBezTo>
                  <a:cubicBezTo>
                    <a:pt x="5139433" y="1221096"/>
                    <a:pt x="5121970" y="1184398"/>
                    <a:pt x="5087045" y="1155202"/>
                  </a:cubicBezTo>
                  <a:cubicBezTo>
                    <a:pt x="5052120" y="1126007"/>
                    <a:pt x="4995503" y="1111410"/>
                    <a:pt x="4917195" y="1111410"/>
                  </a:cubicBezTo>
                  <a:close/>
                  <a:moveTo>
                    <a:pt x="2192561" y="1111410"/>
                  </a:moveTo>
                  <a:cubicBezTo>
                    <a:pt x="2095153" y="1111410"/>
                    <a:pt x="2019164" y="1138695"/>
                    <a:pt x="1964594" y="1193265"/>
                  </a:cubicBezTo>
                  <a:cubicBezTo>
                    <a:pt x="1910023" y="1247836"/>
                    <a:pt x="1882738" y="1324098"/>
                    <a:pt x="1882738" y="1422051"/>
                  </a:cubicBezTo>
                  <a:cubicBezTo>
                    <a:pt x="1882738" y="1492174"/>
                    <a:pt x="1896517" y="1550564"/>
                    <a:pt x="1924075" y="1597222"/>
                  </a:cubicBezTo>
                  <a:cubicBezTo>
                    <a:pt x="1951633" y="1643880"/>
                    <a:pt x="1987581" y="1677986"/>
                    <a:pt x="2031920" y="1699541"/>
                  </a:cubicBezTo>
                  <a:cubicBezTo>
                    <a:pt x="2076258" y="1721096"/>
                    <a:pt x="2132261" y="1731874"/>
                    <a:pt x="2199928" y="1731874"/>
                  </a:cubicBezTo>
                  <a:cubicBezTo>
                    <a:pt x="2266504" y="1731874"/>
                    <a:pt x="2322097" y="1719391"/>
                    <a:pt x="2366709" y="1694425"/>
                  </a:cubicBezTo>
                  <a:cubicBezTo>
                    <a:pt x="2411320" y="1669459"/>
                    <a:pt x="2445426" y="1634534"/>
                    <a:pt x="2469028" y="1589650"/>
                  </a:cubicBezTo>
                  <a:cubicBezTo>
                    <a:pt x="2492630" y="1544766"/>
                    <a:pt x="2504430" y="1487263"/>
                    <a:pt x="2504430" y="1417140"/>
                  </a:cubicBezTo>
                  <a:cubicBezTo>
                    <a:pt x="2504430" y="1320550"/>
                    <a:pt x="2477418" y="1245448"/>
                    <a:pt x="2423394" y="1191833"/>
                  </a:cubicBezTo>
                  <a:cubicBezTo>
                    <a:pt x="2369369" y="1138217"/>
                    <a:pt x="2292425" y="1111410"/>
                    <a:pt x="2192561" y="1111410"/>
                  </a:cubicBezTo>
                  <a:close/>
                  <a:moveTo>
                    <a:pt x="0" y="0"/>
                  </a:moveTo>
                  <a:lnTo>
                    <a:pt x="12192000" y="0"/>
                  </a:lnTo>
                  <a:lnTo>
                    <a:pt x="12192000" y="3443515"/>
                  </a:lnTo>
                  <a:lnTo>
                    <a:pt x="0" y="3443515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0"/>
                  </a:schemeClr>
                </a:gs>
                <a:gs pos="31000">
                  <a:schemeClr val="tx1">
                    <a:alpha val="8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674370" y="5572101"/>
              <a:ext cx="11056620" cy="88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lnSpc>
                  <a:spcPct val="110000"/>
                </a:lnSpc>
                <a:buClr>
                  <a:schemeClr val="lt1"/>
                </a:buClr>
                <a:buSzPts val="2000"/>
              </a:pPr>
              <a:r>
                <a:rPr lang="ru-RU" sz="2400" dirty="0">
                  <a:solidFill>
                    <a:schemeClr val="bg1"/>
                  </a:solidFill>
                  <a:latin typeface="Arial Black" panose="020B0A04020102020204" pitchFamily="34" charset="0"/>
                  <a:ea typeface="Arial"/>
                  <a:cs typeface="Arial"/>
                  <a:sym typeface="Arial"/>
                </a:rPr>
                <a:t>Андрей Гончарик / Андрей Трифонов / Арина Донских</a:t>
              </a:r>
              <a:endParaRPr lang="ru-RU" sz="2400" dirty="0">
                <a:solidFill>
                  <a:schemeClr val="bg1"/>
                </a:solidFill>
                <a:latin typeface="Arial Black" panose="020B0A04020102020204" pitchFamily="34" charset="0"/>
                <a:sym typeface="Arial"/>
              </a:endParaRPr>
            </a:p>
            <a:p>
              <a:pPr lvl="0" algn="ctr">
                <a:lnSpc>
                  <a:spcPct val="110000"/>
                </a:lnSpc>
                <a:buClr>
                  <a:schemeClr val="lt1"/>
                </a:buClr>
                <a:buSzPts val="2000"/>
              </a:pPr>
              <a:r>
                <a:rPr lang="ru-RU" sz="2400" dirty="0">
                  <a:solidFill>
                    <a:schemeClr val="bg1"/>
                  </a:solidFill>
                  <a:latin typeface="Arial Black" panose="020B0A04020102020204" pitchFamily="34" charset="0"/>
                  <a:ea typeface="Arial"/>
                  <a:cs typeface="Arial"/>
                  <a:sym typeface="Arial"/>
                </a:rPr>
                <a:t>Даниил Вольвич / Елена </a:t>
              </a:r>
              <a:r>
                <a:rPr lang="ru-RU" sz="2400" dirty="0" err="1">
                  <a:solidFill>
                    <a:schemeClr val="bg1"/>
                  </a:solidFill>
                  <a:latin typeface="Arial Black" panose="020B0A04020102020204" pitchFamily="34" charset="0"/>
                  <a:ea typeface="Arial"/>
                  <a:cs typeface="Arial"/>
                  <a:sym typeface="Arial"/>
                </a:rPr>
                <a:t>Смородинова</a:t>
              </a:r>
              <a:r>
                <a:rPr lang="ru-RU" sz="2400" dirty="0">
                  <a:solidFill>
                    <a:schemeClr val="bg1"/>
                  </a:solidFill>
                  <a:latin typeface="Arial Black" panose="020B0A04020102020204" pitchFamily="34" charset="0"/>
                  <a:ea typeface="Arial"/>
                  <a:cs typeface="Arial"/>
                  <a:sym typeface="Arial"/>
                </a:rPr>
                <a:t> / Ольга Бочкова</a:t>
              </a:r>
              <a:endParaRPr lang="ru-RU" sz="2400" dirty="0">
                <a:solidFill>
                  <a:schemeClr val="bg1"/>
                </a:solidFill>
                <a:latin typeface="Arial Black" panose="020B0A04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2029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latin typeface="+mj-lt"/>
              <a:sym typeface="+mj-lt"/>
            </a:endParaRPr>
          </a:p>
        </p:txBody>
      </p:sp>
      <p:sp>
        <p:nvSpPr>
          <p:cNvPr id="19" name="TextBox 35">
            <a:extLst>
              <a:ext uri="{FF2B5EF4-FFF2-40B4-BE49-F238E27FC236}">
                <a16:creationId xmlns:a16="http://schemas.microsoft.com/office/drawing/2014/main" id="{00000000-0008-0000-0E00-000024000000}"/>
              </a:ext>
            </a:extLst>
          </p:cNvPr>
          <p:cNvSpPr txBox="1"/>
          <p:nvPr/>
        </p:nvSpPr>
        <p:spPr>
          <a:xfrm>
            <a:off x="664254" y="443861"/>
            <a:ext cx="11053264" cy="1015663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6000" b="1" dirty="0">
                <a:solidFill>
                  <a:schemeClr val="accent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ОДЕРЖАНИЕ</a:t>
            </a:r>
            <a:endParaRPr lang="en-US" sz="6000" b="1" dirty="0">
              <a:solidFill>
                <a:schemeClr val="accent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2" name="3D Model 1" descr="Football">
                <a:extLst>
                  <a:ext uri="{FF2B5EF4-FFF2-40B4-BE49-F238E27FC236}">
                    <a16:creationId xmlns:a16="http://schemas.microsoft.com/office/drawing/2014/main" id="{27EDA0EB-1529-B70A-7136-90A29399249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778683866"/>
                  </p:ext>
                </p:extLst>
              </p:nvPr>
            </p:nvGraphicFramePr>
            <p:xfrm>
              <a:off x="664253" y="5582651"/>
              <a:ext cx="831485" cy="831485"/>
            </p:xfrm>
            <a:graphic>
              <a:graphicData uri="http://schemas.microsoft.com/office/drawing/2017/model3d">
                <am3d:model3d r:embed="rId6">
                  <am3d:spPr>
                    <a:xfrm>
                      <a:off x="0" y="0"/>
                      <a:ext cx="831485" cy="831485"/>
                    </a:xfrm>
                    <a:prstGeom prst="rect">
                      <a:avLst/>
                    </a:prstGeom>
                  </am3d:spPr>
                  <am3d:camera>
                    <am3d:pos x="0" y="0" z="8146919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4545592" d="1000000"/>
                    <am3d:preTrans dx="-201138" dy="-18600209" dz="-351418"/>
                    <am3d:scale>
                      <am3d:sx n="1000000" d="1000000"/>
                      <am3d:sy n="1000000" d="1000000"/>
                      <am3d:sz n="1000000" d="1000000"/>
                    </am3d:scale>
                    <am3d:rot ax="1598579" ay="3076202" az="1282468"/>
                    <am3d:postTrans dx="0" dy="0" dz="0"/>
                  </am3d:trans>
                  <am3d:raster rName="Office3DRenderer" rVer="16.0.8326">
                    <am3d:blip r:embed="rId7"/>
                  </am3d:raster>
                  <am3d:objViewport viewportSz="1360612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2" name="3D Model 1" descr="Football">
                <a:extLst>
                  <a:ext uri="{FF2B5EF4-FFF2-40B4-BE49-F238E27FC236}">
                    <a16:creationId xmlns:a16="http://schemas.microsoft.com/office/drawing/2014/main" id="{27EDA0EB-1529-B70A-7136-90A29399249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64253" y="5582651"/>
                <a:ext cx="831485" cy="831485"/>
              </a:xfrm>
              <a:prstGeom prst="rect">
                <a:avLst/>
              </a:prstGeom>
            </p:spPr>
          </p:pic>
        </mc:Fallback>
      </mc:AlternateContent>
      <p:sp>
        <p:nvSpPr>
          <p:cNvPr id="3" name="Rectangle 5">
            <a:extLst>
              <a:ext uri="{FF2B5EF4-FFF2-40B4-BE49-F238E27FC236}">
                <a16:creationId xmlns:a16="http://schemas.microsoft.com/office/drawing/2014/main" id="{72FF4B8D-DA68-21FF-E847-C17083FF3512}"/>
              </a:ext>
            </a:extLst>
          </p:cNvPr>
          <p:cNvSpPr/>
          <p:nvPr/>
        </p:nvSpPr>
        <p:spPr>
          <a:xfrm>
            <a:off x="664253" y="1780246"/>
            <a:ext cx="10543009" cy="337277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609329-605F-43FD-7B0A-536ED139F2F9}"/>
              </a:ext>
            </a:extLst>
          </p:cNvPr>
          <p:cNvSpPr txBox="1"/>
          <p:nvPr/>
        </p:nvSpPr>
        <p:spPr>
          <a:xfrm>
            <a:off x="873802" y="1997839"/>
            <a:ext cx="1013709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2800" dirty="0">
                <a:solidFill>
                  <a:schemeClr val="bg1"/>
                </a:solidFill>
                <a:ea typeface="Segoe UI Symbol" panose="020B0502040204020203" pitchFamily="34" charset="0"/>
                <a:cs typeface="Segoe UI" panose="020B0502040204020203" pitchFamily="34" charset="0"/>
              </a:rPr>
              <a:t>Задача проекта</a:t>
            </a:r>
          </a:p>
          <a:p>
            <a:pPr marL="514350" indent="-51435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800" dirty="0">
                <a:solidFill>
                  <a:schemeClr val="bg1"/>
                </a:solidFill>
                <a:ea typeface="Segoe UI Symbol" panose="020B0502040204020203" pitchFamily="34" charset="0"/>
                <a:cs typeface="Segoe UI" panose="020B0502040204020203" pitchFamily="34" charset="0"/>
              </a:rPr>
              <a:t>Executive summary </a:t>
            </a:r>
            <a:r>
              <a:rPr lang="ru-RU" sz="2800" dirty="0">
                <a:solidFill>
                  <a:schemeClr val="bg1"/>
                </a:solidFill>
                <a:ea typeface="Segoe UI Symbol" panose="020B0502040204020203" pitchFamily="34" charset="0"/>
                <a:cs typeface="Segoe UI" panose="020B0502040204020203" pitchFamily="34" charset="0"/>
              </a:rPr>
              <a:t>проекта</a:t>
            </a:r>
          </a:p>
          <a:p>
            <a:pPr marL="514350" indent="-51435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2800" dirty="0">
                <a:solidFill>
                  <a:schemeClr val="bg1"/>
                </a:solidFill>
                <a:ea typeface="Segoe UI Symbol" panose="020B0502040204020203" pitchFamily="34" charset="0"/>
                <a:cs typeface="Segoe UI" panose="020B0502040204020203" pitchFamily="34" charset="0"/>
              </a:rPr>
              <a:t>Анализ и отбор ключевых характеристик</a:t>
            </a:r>
          </a:p>
          <a:p>
            <a:pPr marL="514350" indent="-51435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2800" dirty="0">
                <a:solidFill>
                  <a:schemeClr val="bg1"/>
                </a:solidFill>
                <a:ea typeface="Segoe UI Symbol" panose="020B0502040204020203" pitchFamily="34" charset="0"/>
                <a:cs typeface="Segoe UI" panose="020B0502040204020203" pitchFamily="34" charset="0"/>
              </a:rPr>
              <a:t>Техническая реализация в</a:t>
            </a:r>
            <a:r>
              <a:rPr lang="en-US" sz="2800" dirty="0">
                <a:solidFill>
                  <a:schemeClr val="bg1"/>
                </a:solidFill>
                <a:ea typeface="Segoe UI Symbol" panose="020B0502040204020203" pitchFamily="34" charset="0"/>
                <a:cs typeface="Segoe UI" panose="020B0502040204020203" pitchFamily="34" charset="0"/>
              </a:rPr>
              <a:t>Tableau</a:t>
            </a:r>
            <a:r>
              <a:rPr lang="ru-RU" sz="2800" dirty="0">
                <a:solidFill>
                  <a:schemeClr val="bg1"/>
                </a:solidFill>
                <a:ea typeface="Segoe UI Symbol" panose="020B0502040204020203" pitchFamily="34" charset="0"/>
                <a:cs typeface="Segoe UI" panose="020B0502040204020203" pitchFamily="34" charset="0"/>
              </a:rPr>
              <a:t> и ссылка на </a:t>
            </a:r>
            <a:r>
              <a:rPr lang="ru-RU" sz="2800" dirty="0" err="1">
                <a:solidFill>
                  <a:schemeClr val="bg1"/>
                </a:solidFill>
                <a:ea typeface="Segoe UI Symbol" panose="020B0502040204020203" pitchFamily="34" charset="0"/>
                <a:cs typeface="Segoe UI" panose="020B0502040204020203" pitchFamily="34" charset="0"/>
              </a:rPr>
              <a:t>дашборд</a:t>
            </a:r>
            <a:endParaRPr lang="ru-RU" sz="2800" dirty="0">
              <a:solidFill>
                <a:schemeClr val="bg1"/>
              </a:solidFill>
              <a:ea typeface="Segoe UI Symbol" panose="020B0502040204020203" pitchFamily="34" charset="0"/>
              <a:cs typeface="Segoe UI" panose="020B0502040204020203" pitchFamily="34" charset="0"/>
            </a:endParaRPr>
          </a:p>
          <a:p>
            <a:pPr marL="514350" indent="-51435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2800" dirty="0">
                <a:solidFill>
                  <a:schemeClr val="bg1"/>
                </a:solidFill>
                <a:ea typeface="Segoe UI Symbol" panose="020B0502040204020203" pitchFamily="34" charset="0"/>
                <a:cs typeface="Segoe UI" panose="020B0502040204020203" pitchFamily="34" charset="0"/>
              </a:rPr>
              <a:t>Планы по улучшению инструмента</a:t>
            </a:r>
          </a:p>
        </p:txBody>
      </p:sp>
    </p:spTree>
    <p:extLst>
      <p:ext uri="{BB962C8B-B14F-4D97-AF65-F5344CB8AC3E}">
        <p14:creationId xmlns:p14="http://schemas.microsoft.com/office/powerpoint/2010/main" val="29824468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latin typeface="+mj-lt"/>
              <a:sym typeface="+mj-lt"/>
            </a:endParaRPr>
          </a:p>
        </p:txBody>
      </p:sp>
      <p:sp>
        <p:nvSpPr>
          <p:cNvPr id="19" name="TextBox 35">
            <a:extLst>
              <a:ext uri="{FF2B5EF4-FFF2-40B4-BE49-F238E27FC236}">
                <a16:creationId xmlns:a16="http://schemas.microsoft.com/office/drawing/2014/main" id="{00000000-0008-0000-0E00-000024000000}"/>
              </a:ext>
            </a:extLst>
          </p:cNvPr>
          <p:cNvSpPr txBox="1"/>
          <p:nvPr/>
        </p:nvSpPr>
        <p:spPr>
          <a:xfrm>
            <a:off x="664254" y="443861"/>
            <a:ext cx="11053264" cy="1015663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6000" b="1" dirty="0">
                <a:solidFill>
                  <a:schemeClr val="accent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ЗАДАЧА</a:t>
            </a:r>
            <a:endParaRPr lang="en-US" sz="6000" b="1" dirty="0">
              <a:solidFill>
                <a:schemeClr val="accent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2" name="3D Model 1" descr="Football">
                <a:extLst>
                  <a:ext uri="{FF2B5EF4-FFF2-40B4-BE49-F238E27FC236}">
                    <a16:creationId xmlns:a16="http://schemas.microsoft.com/office/drawing/2014/main" id="{27EDA0EB-1529-B70A-7136-90A29399249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540760050"/>
                  </p:ext>
                </p:extLst>
              </p:nvPr>
            </p:nvGraphicFramePr>
            <p:xfrm>
              <a:off x="4407577" y="524875"/>
              <a:ext cx="831485" cy="831485"/>
            </p:xfrm>
            <a:graphic>
              <a:graphicData uri="http://schemas.microsoft.com/office/drawing/2017/model3d">
                <am3d:model3d r:embed="rId6">
                  <am3d:spPr>
                    <a:xfrm>
                      <a:off x="0" y="0"/>
                      <a:ext cx="831485" cy="831485"/>
                    </a:xfrm>
                    <a:prstGeom prst="rect">
                      <a:avLst/>
                    </a:prstGeom>
                  </am3d:spPr>
                  <am3d:camera>
                    <am3d:pos x="0" y="0" z="8146919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4545592" d="1000000"/>
                    <am3d:preTrans dx="-201138" dy="-18600209" dz="-351418"/>
                    <am3d:scale>
                      <am3d:sx n="1000000" d="1000000"/>
                      <am3d:sy n="1000000" d="1000000"/>
                      <am3d:sz n="1000000" d="1000000"/>
                    </am3d:scale>
                    <am3d:rot ax="-1657561" ay="-382439" az="-10600494"/>
                    <am3d:postTrans dx="0" dy="0" dz="0"/>
                  </am3d:trans>
                  <am3d:raster rName="Office3DRenderer" rVer="16.0.8326">
                    <am3d:blip r:embed="rId7"/>
                  </am3d:raster>
                  <am3d:objViewport viewportSz="1360612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2" name="3D Model 1" descr="Football">
                <a:extLst>
                  <a:ext uri="{FF2B5EF4-FFF2-40B4-BE49-F238E27FC236}">
                    <a16:creationId xmlns:a16="http://schemas.microsoft.com/office/drawing/2014/main" id="{27EDA0EB-1529-B70A-7136-90A29399249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407577" y="524875"/>
                <a:ext cx="831485" cy="831485"/>
              </a:xfrm>
              <a:prstGeom prst="rect">
                <a:avLst/>
              </a:prstGeom>
            </p:spPr>
          </p:pic>
        </mc:Fallback>
      </mc:AlternateContent>
      <p:sp>
        <p:nvSpPr>
          <p:cNvPr id="3" name="Rectangle 5">
            <a:extLst>
              <a:ext uri="{FF2B5EF4-FFF2-40B4-BE49-F238E27FC236}">
                <a16:creationId xmlns:a16="http://schemas.microsoft.com/office/drawing/2014/main" id="{72FF4B8D-DA68-21FF-E847-C17083FF3512}"/>
              </a:ext>
            </a:extLst>
          </p:cNvPr>
          <p:cNvSpPr/>
          <p:nvPr/>
        </p:nvSpPr>
        <p:spPr>
          <a:xfrm>
            <a:off x="664254" y="2428875"/>
            <a:ext cx="10543008" cy="38195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609329-605F-43FD-7B0A-536ED139F2F9}"/>
              </a:ext>
            </a:extLst>
          </p:cNvPr>
          <p:cNvSpPr txBox="1"/>
          <p:nvPr/>
        </p:nvSpPr>
        <p:spPr>
          <a:xfrm>
            <a:off x="873802" y="2571388"/>
            <a:ext cx="9860874" cy="34855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  <a:effectLst/>
              </a:rPr>
              <a:t>На результаты игр влияет большое разнообразие различных характеристик. Необходимо выявить 2-3 ключевые характеристики, которые могут влиять на потенциал команды на победу в матче (помочь предсказать результат).</a:t>
            </a:r>
          </a:p>
          <a:p>
            <a:pPr algn="just"/>
            <a:endParaRPr lang="ru-RU" dirty="0">
              <a:solidFill>
                <a:schemeClr val="bg1"/>
              </a:solidFill>
              <a:effectLst/>
            </a:endParaRPr>
          </a:p>
          <a:p>
            <a:pPr algn="just"/>
            <a:r>
              <a:rPr lang="ru-RU" dirty="0">
                <a:solidFill>
                  <a:schemeClr val="bg1"/>
                </a:solidFill>
                <a:effectLst/>
              </a:rPr>
              <a:t>Основание для анализа и подготовки инструмента предсказания -&gt; следующие статистические данные:</a:t>
            </a:r>
          </a:p>
          <a:p>
            <a:pPr marL="742950" lvl="1" indent="-285750" algn="just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  <a:effectLst/>
              </a:rPr>
              <a:t>10 топовых европейских лиг</a:t>
            </a:r>
          </a:p>
          <a:p>
            <a:pPr marL="742950" lvl="1" indent="-285750" algn="just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</a:rPr>
              <a:t>О</a:t>
            </a:r>
            <a:r>
              <a:rPr lang="ru-RU" dirty="0">
                <a:solidFill>
                  <a:schemeClr val="bg1"/>
                </a:solidFill>
                <a:effectLst/>
              </a:rPr>
              <a:t>коло 200 команд</a:t>
            </a:r>
          </a:p>
          <a:p>
            <a:pPr marL="742950" lvl="1" indent="-285750" algn="just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  <a:effectLst/>
              </a:rPr>
              <a:t>38 персональных показателей игроков</a:t>
            </a:r>
          </a:p>
          <a:p>
            <a:pPr marL="742950" lvl="1" indent="-285750" algn="just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  <a:effectLst/>
              </a:rPr>
              <a:t>21 командный показатель</a:t>
            </a:r>
          </a:p>
          <a:p>
            <a:pPr marL="742950" lvl="1" indent="-285750" algn="just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chemeClr val="bg1"/>
                </a:solidFill>
              </a:rPr>
              <a:t>Р</a:t>
            </a:r>
            <a:r>
              <a:rPr lang="ru-RU" dirty="0" err="1">
                <a:solidFill>
                  <a:schemeClr val="bg1"/>
                </a:solidFill>
                <a:effectLst/>
              </a:rPr>
              <a:t>етроданные</a:t>
            </a:r>
            <a:r>
              <a:rPr lang="ru-RU" dirty="0">
                <a:solidFill>
                  <a:schemeClr val="bg1"/>
                </a:solidFill>
                <a:effectLst/>
              </a:rPr>
              <a:t> по матчам последних 8-ми сезонов, порядка 26 тысячи игр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334BD9-87EA-8A23-B4A0-CD84BB71D47E}"/>
              </a:ext>
            </a:extLst>
          </p:cNvPr>
          <p:cNvSpPr txBox="1"/>
          <p:nvPr/>
        </p:nvSpPr>
        <p:spPr>
          <a:xfrm>
            <a:off x="664253" y="1524646"/>
            <a:ext cx="105430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>
              <a:spcBef>
                <a:spcPts val="0"/>
              </a:spcBef>
              <a:spcAft>
                <a:spcPts val="600"/>
              </a:spcAft>
            </a:pPr>
            <a:r>
              <a:rPr lang="ru-RU" sz="2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Создать </a:t>
            </a:r>
            <a:r>
              <a:rPr lang="ru-RU" sz="2000" dirty="0" err="1">
                <a:solidFill>
                  <a:schemeClr val="accent1">
                    <a:lumMod val="75000"/>
                  </a:schemeClr>
                </a:solidFill>
                <a:latin typeface="+mj-lt"/>
              </a:rPr>
              <a:t>дашборд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, который предсказывает результат игры двух футбольных команд в зависимости от ключевых характеристик матча.</a:t>
            </a:r>
          </a:p>
        </p:txBody>
      </p:sp>
    </p:spTree>
    <p:extLst>
      <p:ext uri="{BB962C8B-B14F-4D97-AF65-F5344CB8AC3E}">
        <p14:creationId xmlns:p14="http://schemas.microsoft.com/office/powerpoint/2010/main" val="11203629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98F9044-E81C-E0EF-5EFD-FBFED6AC5FED}"/>
              </a:ext>
            </a:extLst>
          </p:cNvPr>
          <p:cNvSpPr/>
          <p:nvPr/>
        </p:nvSpPr>
        <p:spPr>
          <a:xfrm>
            <a:off x="6276974" y="2438400"/>
            <a:ext cx="5915025" cy="25241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latin typeface="+mj-lt"/>
              <a:sym typeface="+mj-lt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6486525" y="2663058"/>
            <a:ext cx="540067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2000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Общий рейтинг игроков</a:t>
            </a:r>
          </a:p>
          <a:p>
            <a:pPr marL="514350" indent="-51435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2000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Сумма ключевых атрибутов игроков</a:t>
            </a:r>
          </a:p>
          <a:p>
            <a:pPr marL="514350" indent="-51435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2000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Агрессивность команды в обороне</a:t>
            </a:r>
          </a:p>
          <a:p>
            <a:pPr marL="514350" indent="-51435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2000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Общий уровень дриблинга команды</a:t>
            </a:r>
          </a:p>
          <a:p>
            <a:pPr marL="514350" indent="-51435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2000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Уровень скорости атаки команды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64254" y="1956720"/>
            <a:ext cx="4793571" cy="40164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99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66</a:t>
            </a:r>
            <a:r>
              <a:rPr lang="ru-RU" sz="115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%</a:t>
            </a:r>
            <a:endParaRPr lang="ru-RU" sz="7200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Точность предсказания нашей модели</a:t>
            </a:r>
            <a:endParaRPr lang="ru-RU" sz="2800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276975" y="1956739"/>
            <a:ext cx="5038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КЛЮЧЕВЫЕ ХАРАКТЕРИСТИКИ:</a:t>
            </a:r>
          </a:p>
        </p:txBody>
      </p:sp>
      <p:sp>
        <p:nvSpPr>
          <p:cNvPr id="9" name="TextBox 35">
            <a:extLst>
              <a:ext uri="{FF2B5EF4-FFF2-40B4-BE49-F238E27FC236}">
                <a16:creationId xmlns:a16="http://schemas.microsoft.com/office/drawing/2014/main" id="{00000000-0008-0000-0E00-000024000000}"/>
              </a:ext>
            </a:extLst>
          </p:cNvPr>
          <p:cNvSpPr txBox="1"/>
          <p:nvPr/>
        </p:nvSpPr>
        <p:spPr>
          <a:xfrm>
            <a:off x="664254" y="443861"/>
            <a:ext cx="11053264" cy="1015663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b="1" dirty="0">
                <a:solidFill>
                  <a:schemeClr val="accent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EXECUTIVE SUMMARY</a:t>
            </a:r>
          </a:p>
        </p:txBody>
      </p:sp>
      <p:sp>
        <p:nvSpPr>
          <p:cNvPr id="4" name="Равнобедренный треугольник 3"/>
          <p:cNvSpPr/>
          <p:nvPr/>
        </p:nvSpPr>
        <p:spPr>
          <a:xfrm rot="5400000">
            <a:off x="4889082" y="3480154"/>
            <a:ext cx="1251788" cy="3048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12" name="3D Model 11" descr="Football">
                <a:extLst>
                  <a:ext uri="{FF2B5EF4-FFF2-40B4-BE49-F238E27FC236}">
                    <a16:creationId xmlns:a16="http://schemas.microsoft.com/office/drawing/2014/main" id="{B322C75A-540F-A662-4C9C-B5BD33D3940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278976582"/>
                  </p:ext>
                </p:extLst>
              </p:nvPr>
            </p:nvGraphicFramePr>
            <p:xfrm>
              <a:off x="10800459" y="5582652"/>
              <a:ext cx="831486" cy="831486"/>
            </p:xfrm>
            <a:graphic>
              <a:graphicData uri="http://schemas.microsoft.com/office/drawing/2017/model3d">
                <am3d:model3d r:embed="rId6">
                  <am3d:spPr>
                    <a:xfrm>
                      <a:off x="0" y="0"/>
                      <a:ext cx="831486" cy="831486"/>
                    </a:xfrm>
                    <a:prstGeom prst="rect">
                      <a:avLst/>
                    </a:prstGeom>
                  </am3d:spPr>
                  <am3d:camera>
                    <am3d:pos x="0" y="0" z="8146919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4545592" d="1000000"/>
                    <am3d:preTrans dx="-201138" dy="-18600209" dz="-351418"/>
                    <am3d:scale>
                      <am3d:sx n="1000000" d="1000000"/>
                      <am3d:sy n="1000000" d="1000000"/>
                      <am3d:sz n="1000000" d="1000000"/>
                    </am3d:scale>
                    <am3d:rot ax="2642687" ay="-70880" az="10731454"/>
                    <am3d:postTrans dx="0" dy="0" dz="0"/>
                  </am3d:trans>
                  <am3d:raster rName="Office3DRenderer" rVer="16.0.8326">
                    <am3d:blip r:embed="rId7"/>
                  </am3d:raster>
                  <am3d:objViewport viewportSz="1360613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12" name="3D Model 11" descr="Football">
                <a:extLst>
                  <a:ext uri="{FF2B5EF4-FFF2-40B4-BE49-F238E27FC236}">
                    <a16:creationId xmlns:a16="http://schemas.microsoft.com/office/drawing/2014/main" id="{B322C75A-540F-A662-4C9C-B5BD33D3940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0800459" y="5582652"/>
                <a:ext cx="831486" cy="831486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8208440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98F9044-E81C-E0EF-5EFD-FBFED6AC5FED}"/>
              </a:ext>
            </a:extLst>
          </p:cNvPr>
          <p:cNvSpPr/>
          <p:nvPr/>
        </p:nvSpPr>
        <p:spPr>
          <a:xfrm>
            <a:off x="323850" y="2148568"/>
            <a:ext cx="6581776" cy="41093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latin typeface="+mj-lt"/>
              <a:sym typeface="+mj-lt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14350" y="2289891"/>
            <a:ext cx="5817001" cy="38266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ru-RU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Провели корреляционный анализ факторов с целевым признаком, учли проверку на </a:t>
            </a:r>
            <a:r>
              <a:rPr lang="ru-RU" dirty="0" err="1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мультиколлинеарность</a:t>
            </a:r>
            <a:r>
              <a:rPr lang="ru-RU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.</a:t>
            </a:r>
            <a:endParaRPr lang="en-US" dirty="0">
              <a:solidFill>
                <a:schemeClr val="bg1"/>
              </a:solidFill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marL="514350" indent="-51435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ru-RU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Отобрали 14 самых многообещающих факторов для будущей модели.</a:t>
            </a:r>
          </a:p>
          <a:p>
            <a:pPr marL="514350" indent="-51435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ru-RU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Создали цикл перебора этих факторов в комбинациях по 2 / 3 / 4 / 5 для нашей модели.</a:t>
            </a:r>
          </a:p>
          <a:p>
            <a:pPr marL="514350" indent="-51435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ru-RU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Нашли лучшее сочетание факторов</a:t>
            </a:r>
            <a:r>
              <a:rPr lang="en-US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r>
              <a:rPr lang="ru-RU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для самой высокой точности предсказания, используя логистическую регрессию и дерево решений.</a:t>
            </a:r>
          </a:p>
          <a:p>
            <a:pPr marL="514350" indent="-51435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ru-RU" dirty="0">
                <a:solidFill>
                  <a:schemeClr val="bg1"/>
                </a:solidFill>
                <a:ea typeface="Segoe UI Black" panose="020B0A02040204020203" pitchFamily="34" charset="0"/>
                <a:cs typeface="Segoe UI" panose="020B0502040204020203" pitchFamily="34" charset="0"/>
              </a:rPr>
              <a:t>Сделали предсказания исходов всех возможных матчей по имеющимся командам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23849" y="1625347"/>
            <a:ext cx="50387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Что сделали в 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Python</a:t>
            </a:r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?</a:t>
            </a:r>
          </a:p>
        </p:txBody>
      </p:sp>
      <p:sp>
        <p:nvSpPr>
          <p:cNvPr id="9" name="TextBox 35">
            <a:extLst>
              <a:ext uri="{FF2B5EF4-FFF2-40B4-BE49-F238E27FC236}">
                <a16:creationId xmlns:a16="http://schemas.microsoft.com/office/drawing/2014/main" id="{00000000-0008-0000-0E00-000024000000}"/>
              </a:ext>
            </a:extLst>
          </p:cNvPr>
          <p:cNvSpPr txBox="1"/>
          <p:nvPr/>
        </p:nvSpPr>
        <p:spPr>
          <a:xfrm>
            <a:off x="323849" y="597749"/>
            <a:ext cx="10220688" cy="707886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4000" b="1" dirty="0">
                <a:solidFill>
                  <a:schemeClr val="accent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ОТБОР КЛЮЧЕВЫХ ХАРАКТЕРИСТИК</a:t>
            </a:r>
            <a:endParaRPr lang="en-US" sz="4000" b="1" dirty="0">
              <a:solidFill>
                <a:schemeClr val="accent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248525" y="2290095"/>
            <a:ext cx="4638675" cy="33393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Около</a:t>
            </a:r>
            <a:r>
              <a:rPr lang="ru-RU" sz="115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7000</a:t>
            </a:r>
            <a:endParaRPr lang="ru-RU" sz="6600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algn="just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комбинаций факторов было опробовано, чтобы выявить лучшие из них и обучить самую точную модель</a:t>
            </a:r>
            <a:endParaRPr lang="ru-RU" sz="2400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4" name="3D Model 3" descr="Football">
                <a:extLst>
                  <a:ext uri="{FF2B5EF4-FFF2-40B4-BE49-F238E27FC236}">
                    <a16:creationId xmlns:a16="http://schemas.microsoft.com/office/drawing/2014/main" id="{18578C2F-0AF5-4861-541A-A116D70ADD0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828395688"/>
                  </p:ext>
                </p:extLst>
              </p:nvPr>
            </p:nvGraphicFramePr>
            <p:xfrm>
              <a:off x="10800460" y="535948"/>
              <a:ext cx="831486" cy="831486"/>
            </p:xfrm>
            <a:graphic>
              <a:graphicData uri="http://schemas.microsoft.com/office/drawing/2017/model3d">
                <am3d:model3d r:embed="rId6">
                  <am3d:spPr>
                    <a:xfrm>
                      <a:off x="0" y="0"/>
                      <a:ext cx="831486" cy="831486"/>
                    </a:xfrm>
                    <a:prstGeom prst="rect">
                      <a:avLst/>
                    </a:prstGeom>
                  </am3d:spPr>
                  <am3d:camera>
                    <am3d:pos x="0" y="0" z="8146919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4545592" d="1000000"/>
                    <am3d:preTrans dx="-201138" dy="-18600209" dz="-351418"/>
                    <am3d:scale>
                      <am3d:sx n="1000000" d="1000000"/>
                      <am3d:sy n="1000000" d="1000000"/>
                      <am3d:sz n="1000000" d="1000000"/>
                    </am3d:scale>
                    <am3d:rot ax="-8222648" ay="1645185" az="-9407506"/>
                    <am3d:postTrans dx="0" dy="0" dz="0"/>
                  </am3d:trans>
                  <am3d:raster rName="Office3DRenderer" rVer="16.0.8326">
                    <am3d:blip r:embed="rId7"/>
                  </am3d:raster>
                  <am3d:objViewport viewportSz="1360613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4" name="3D Model 3" descr="Football">
                <a:extLst>
                  <a:ext uri="{FF2B5EF4-FFF2-40B4-BE49-F238E27FC236}">
                    <a16:creationId xmlns:a16="http://schemas.microsoft.com/office/drawing/2014/main" id="{18578C2F-0AF5-4861-541A-A116D70ADD0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0800460" y="535948"/>
                <a:ext cx="831486" cy="831486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7369186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98F9044-E81C-E0EF-5EFD-FBFED6AC5FED}"/>
              </a:ext>
            </a:extLst>
          </p:cNvPr>
          <p:cNvSpPr/>
          <p:nvPr/>
        </p:nvSpPr>
        <p:spPr>
          <a:xfrm>
            <a:off x="664253" y="2147026"/>
            <a:ext cx="10782663" cy="7050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latin typeface="+mj-lt"/>
              <a:sym typeface="+mj-lt"/>
            </a:endParaRPr>
          </a:p>
        </p:txBody>
      </p:sp>
      <p:sp>
        <p:nvSpPr>
          <p:cNvPr id="3" name="TextBox 35">
            <a:extLst>
              <a:ext uri="{FF2B5EF4-FFF2-40B4-BE49-F238E27FC236}">
                <a16:creationId xmlns:a16="http://schemas.microsoft.com/office/drawing/2014/main" id="{132D3F6B-149A-DA95-73AA-949F7F523627}"/>
              </a:ext>
            </a:extLst>
          </p:cNvPr>
          <p:cNvSpPr txBox="1"/>
          <p:nvPr/>
        </p:nvSpPr>
        <p:spPr>
          <a:xfrm>
            <a:off x="1724628" y="597749"/>
            <a:ext cx="9992890" cy="707886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4000" b="1" dirty="0">
                <a:solidFill>
                  <a:schemeClr val="accent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ТЕХНИЧЕСКАЯ РЕАЛИЗАЦИЯ</a:t>
            </a:r>
            <a:endParaRPr lang="en-US" sz="4000" b="1" dirty="0">
              <a:solidFill>
                <a:schemeClr val="accent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9E3DCF-4FBD-A1CD-C3DC-25E033790170}"/>
              </a:ext>
            </a:extLst>
          </p:cNvPr>
          <p:cNvSpPr txBox="1"/>
          <p:nvPr/>
        </p:nvSpPr>
        <p:spPr>
          <a:xfrm>
            <a:off x="664254" y="2207686"/>
            <a:ext cx="9455854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sz="32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Важное уточнение!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40A89D-F9D4-177E-71AA-64F15CCCD20A}"/>
              </a:ext>
            </a:extLst>
          </p:cNvPr>
          <p:cNvSpPr txBox="1"/>
          <p:nvPr/>
        </p:nvSpPr>
        <p:spPr>
          <a:xfrm>
            <a:off x="664254" y="5346915"/>
            <a:ext cx="107826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chemeClr val="accent1">
                    <a:lumMod val="7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  <a:hlinkClick r:id="rId6"/>
              </a:rPr>
              <a:t>Ссылка</a:t>
            </a:r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на </a:t>
            </a:r>
            <a:r>
              <a:rPr lang="ru-RU" sz="2800" b="1" dirty="0" err="1">
                <a:solidFill>
                  <a:schemeClr val="accent1">
                    <a:lumMod val="7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дашборд</a:t>
            </a:r>
            <a:endParaRPr lang="ru-RU" sz="2800" b="1" dirty="0">
              <a:solidFill>
                <a:schemeClr val="accent1">
                  <a:lumMod val="75000"/>
                </a:schemeClr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0F80D4A-FEC9-4FE8-3D77-6CCFA6DA01D3}"/>
              </a:ext>
            </a:extLst>
          </p:cNvPr>
          <p:cNvSpPr txBox="1"/>
          <p:nvPr/>
        </p:nvSpPr>
        <p:spPr>
          <a:xfrm>
            <a:off x="664254" y="2874245"/>
            <a:ext cx="1078266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Наш дашборд показывает результат игры команд по статичному файлу с уже предсказанными результатами.</a:t>
            </a:r>
          </a:p>
          <a:p>
            <a:pPr algn="just"/>
            <a:endParaRPr lang="ru-RU" sz="2400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algn="just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Тем не менее, если появится новая информация о командах по вновь прошедшему сезону, мы с легкостью сможем обновить данные для заказчика.</a:t>
            </a:r>
            <a:endParaRPr lang="ru-RU" sz="2400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12" name="3D Model 11" descr="Football">
                <a:extLst>
                  <a:ext uri="{FF2B5EF4-FFF2-40B4-BE49-F238E27FC236}">
                    <a16:creationId xmlns:a16="http://schemas.microsoft.com/office/drawing/2014/main" id="{A6EF35EC-5C39-168A-7BD6-158DFF4022D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562715702"/>
                  </p:ext>
                </p:extLst>
              </p:nvPr>
            </p:nvGraphicFramePr>
            <p:xfrm>
              <a:off x="664253" y="535948"/>
              <a:ext cx="831486" cy="831486"/>
            </p:xfrm>
            <a:graphic>
              <a:graphicData uri="http://schemas.microsoft.com/office/drawing/2017/model3d">
                <am3d:model3d r:embed="rId7">
                  <am3d:spPr>
                    <a:xfrm>
                      <a:off x="0" y="0"/>
                      <a:ext cx="831486" cy="831486"/>
                    </a:xfrm>
                    <a:prstGeom prst="rect">
                      <a:avLst/>
                    </a:prstGeom>
                  </am3d:spPr>
                  <am3d:camera>
                    <am3d:pos x="0" y="0" z="8146919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4545592" d="1000000"/>
                    <am3d:preTrans dx="-201138" dy="-18600209" dz="-351418"/>
                    <am3d:scale>
                      <am3d:sx n="1000000" d="1000000"/>
                      <am3d:sy n="1000000" d="1000000"/>
                      <am3d:sz n="1000000" d="1000000"/>
                    </am3d:scale>
                    <am3d:rot ax="92963" ay="1922099" az="-10750698"/>
                    <am3d:postTrans dx="0" dy="0" dz="0"/>
                  </am3d:trans>
                  <am3d:raster rName="Office3DRenderer" rVer="16.0.8326">
                    <am3d:blip r:embed="rId8"/>
                  </am3d:raster>
                  <am3d:objViewport viewportSz="1360613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12" name="3D Model 11" descr="Football">
                <a:extLst>
                  <a:ext uri="{FF2B5EF4-FFF2-40B4-BE49-F238E27FC236}">
                    <a16:creationId xmlns:a16="http://schemas.microsoft.com/office/drawing/2014/main" id="{A6EF35EC-5C39-168A-7BD6-158DFF4022D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64253" y="535948"/>
                <a:ext cx="831486" cy="831486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5564702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98F9044-E81C-E0EF-5EFD-FBFED6AC5FED}"/>
              </a:ext>
            </a:extLst>
          </p:cNvPr>
          <p:cNvSpPr/>
          <p:nvPr/>
        </p:nvSpPr>
        <p:spPr>
          <a:xfrm>
            <a:off x="664253" y="2726592"/>
            <a:ext cx="10544538" cy="313808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latin typeface="+mj-lt"/>
              <a:sym typeface="+mj-lt"/>
            </a:endParaRPr>
          </a:p>
        </p:txBody>
      </p:sp>
      <p:sp>
        <p:nvSpPr>
          <p:cNvPr id="3" name="TextBox 35">
            <a:extLst>
              <a:ext uri="{FF2B5EF4-FFF2-40B4-BE49-F238E27FC236}">
                <a16:creationId xmlns:a16="http://schemas.microsoft.com/office/drawing/2014/main" id="{132D3F6B-149A-DA95-73AA-949F7F523627}"/>
              </a:ext>
            </a:extLst>
          </p:cNvPr>
          <p:cNvSpPr txBox="1"/>
          <p:nvPr/>
        </p:nvSpPr>
        <p:spPr>
          <a:xfrm>
            <a:off x="664253" y="597748"/>
            <a:ext cx="9992890" cy="707886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>
            <a:defPPr>
              <a:defRPr lang="ru-RU"/>
            </a:defPPr>
            <a:lvl1pPr indent="0">
              <a:defRPr sz="4000" b="1">
                <a:solidFill>
                  <a:schemeClr val="accent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r>
              <a:rPr lang="ru-RU" dirty="0"/>
              <a:t>ПЛАНЫ ПО УЛУЧШЕНИЮ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40A89D-F9D4-177E-71AA-64F15CCCD20A}"/>
              </a:ext>
            </a:extLst>
          </p:cNvPr>
          <p:cNvSpPr txBox="1"/>
          <p:nvPr/>
        </p:nvSpPr>
        <p:spPr>
          <a:xfrm>
            <a:off x="664255" y="1608257"/>
            <a:ext cx="802254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800" b="1">
                <a:solidFill>
                  <a:schemeClr val="accent1">
                    <a:lumMod val="7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Добавить к прогнозу вероятность победы для каждой команды и ничьи</a:t>
            </a:r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12" name="3D Model 11" descr="Football">
                <a:extLst>
                  <a:ext uri="{FF2B5EF4-FFF2-40B4-BE49-F238E27FC236}">
                    <a16:creationId xmlns:a16="http://schemas.microsoft.com/office/drawing/2014/main" id="{A6EF35EC-5C39-168A-7BD6-158DFF4022D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900123038"/>
                  </p:ext>
                </p:extLst>
              </p:nvPr>
            </p:nvGraphicFramePr>
            <p:xfrm>
              <a:off x="10377304" y="535948"/>
              <a:ext cx="831485" cy="831485"/>
            </p:xfrm>
            <a:graphic>
              <a:graphicData uri="http://schemas.microsoft.com/office/drawing/2017/model3d">
                <am3d:model3d r:embed="rId6">
                  <am3d:spPr>
                    <a:xfrm>
                      <a:off x="0" y="0"/>
                      <a:ext cx="831485" cy="831485"/>
                    </a:xfrm>
                    <a:prstGeom prst="rect">
                      <a:avLst/>
                    </a:prstGeom>
                  </am3d:spPr>
                  <am3d:camera>
                    <am3d:pos x="0" y="0" z="8146919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4545592" d="1000000"/>
                    <am3d:preTrans dx="-201138" dy="-18600209" dz="-351418"/>
                    <am3d:scale>
                      <am3d:sx n="1000000" d="1000000"/>
                      <am3d:sy n="1000000" d="1000000"/>
                      <am3d:sz n="1000000" d="1000000"/>
                    </am3d:scale>
                    <am3d:rot ax="-5943484" ay="3698779" az="-6016070"/>
                    <am3d:postTrans dx="0" dy="0" dz="0"/>
                  </am3d:trans>
                  <am3d:raster rName="Office3DRenderer" rVer="16.0.8326">
                    <am3d:blip r:embed="rId7"/>
                  </am3d:raster>
                  <am3d:objViewport viewportSz="1360612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12" name="3D Model 11" descr="Football">
                <a:extLst>
                  <a:ext uri="{FF2B5EF4-FFF2-40B4-BE49-F238E27FC236}">
                    <a16:creationId xmlns:a16="http://schemas.microsoft.com/office/drawing/2014/main" id="{A6EF35EC-5C39-168A-7BD6-158DFF4022D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0377304" y="535948"/>
                <a:ext cx="831485" cy="831485"/>
              </a:xfrm>
              <a:prstGeom prst="rect">
                <a:avLst/>
              </a:prstGeom>
            </p:spPr>
          </p:pic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F27F2798-4A0D-2F11-C4A4-04BF7870F168}"/>
              </a:ext>
            </a:extLst>
          </p:cNvPr>
          <p:cNvSpPr txBox="1"/>
          <p:nvPr/>
        </p:nvSpPr>
        <p:spPr>
          <a:xfrm>
            <a:off x="983209" y="2775379"/>
            <a:ext cx="10018166" cy="30191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spcBef>
                <a:spcPts val="200"/>
              </a:spcBef>
              <a:spcAft>
                <a:spcPts val="600"/>
              </a:spcAft>
            </a:pPr>
            <a:r>
              <a:rPr lang="ru-RU" sz="2000" b="1" dirty="0"/>
              <a:t>Для этого на том же наборе данных провести следующий анализ:</a:t>
            </a:r>
          </a:p>
          <a:p>
            <a:pPr marL="285750" indent="-285750" algn="l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Взять данные по коэффициентам букмекерских контор.</a:t>
            </a:r>
          </a:p>
          <a:p>
            <a:pPr marL="285750" indent="-285750" algn="l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Отобрать только игры, где предсказание букмекеров совпало с реальным результатом.</a:t>
            </a:r>
          </a:p>
          <a:p>
            <a:pPr marL="285750" indent="-285750" algn="l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Перевести коэффициенты в вероятности по формуле: </a:t>
            </a:r>
          </a:p>
          <a:p>
            <a:pPr algn="l">
              <a:spcBef>
                <a:spcPts val="200"/>
              </a:spcBef>
              <a:spcAft>
                <a:spcPts val="200"/>
              </a:spcAft>
            </a:pPr>
            <a:r>
              <a:rPr lang="ru-RU" sz="2000" dirty="0"/>
              <a:t>    </a:t>
            </a:r>
            <a:r>
              <a:rPr lang="ru-RU" sz="2000" b="1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(вероятность = 100 / коэффициент)</a:t>
            </a:r>
          </a:p>
          <a:p>
            <a:pPr marL="285750" indent="-285750" algn="l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Использовать линейную регрессию для анализа вероятностей.</a:t>
            </a:r>
          </a:p>
          <a:p>
            <a:pPr marL="285750" indent="-285750" algn="l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Обновить </a:t>
            </a:r>
            <a:r>
              <a:rPr lang="ru-RU" sz="2000" dirty="0" err="1"/>
              <a:t>датасет</a:t>
            </a:r>
            <a:r>
              <a:rPr lang="ru-RU" sz="2000" dirty="0"/>
              <a:t> с предсказаниями.</a:t>
            </a:r>
          </a:p>
        </p:txBody>
      </p:sp>
    </p:spTree>
    <p:extLst>
      <p:ext uri="{BB962C8B-B14F-4D97-AF65-F5344CB8AC3E}">
        <p14:creationId xmlns:p14="http://schemas.microsoft.com/office/powerpoint/2010/main" val="35547703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latin typeface="+mj-lt"/>
              <a:sym typeface="+mj-lt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02"/>
          <a:stretch/>
        </p:blipFill>
        <p:spPr>
          <a:xfrm>
            <a:off x="0" y="-22860"/>
            <a:ext cx="12192001" cy="68808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0" y="3429000"/>
            <a:ext cx="12192001" cy="3429000"/>
            <a:chOff x="0" y="3429000"/>
            <a:chExt cx="12192001" cy="3429000"/>
          </a:xfrm>
        </p:grpSpPr>
        <p:sp>
          <p:nvSpPr>
            <p:cNvPr id="9" name="Полилиния 8"/>
            <p:cNvSpPr/>
            <p:nvPr/>
          </p:nvSpPr>
          <p:spPr>
            <a:xfrm>
              <a:off x="0" y="3429000"/>
              <a:ext cx="12192001" cy="3429000"/>
            </a:xfrm>
            <a:custGeom>
              <a:avLst/>
              <a:gdLst/>
              <a:ahLst/>
              <a:cxnLst/>
              <a:rect l="l" t="t" r="r" b="b"/>
              <a:pathLst>
                <a:path w="12192001" h="3429000">
                  <a:moveTo>
                    <a:pt x="11127532" y="1330256"/>
                  </a:moveTo>
                  <a:cubicBezTo>
                    <a:pt x="11095088" y="1330256"/>
                    <a:pt x="11069266" y="1338367"/>
                    <a:pt x="11050067" y="1354589"/>
                  </a:cubicBezTo>
                  <a:cubicBezTo>
                    <a:pt x="11030868" y="1370812"/>
                    <a:pt x="11021269" y="1392020"/>
                    <a:pt x="11021269" y="1418213"/>
                  </a:cubicBezTo>
                  <a:cubicBezTo>
                    <a:pt x="11021269" y="1444110"/>
                    <a:pt x="11031166" y="1465690"/>
                    <a:pt x="11050960" y="1482954"/>
                  </a:cubicBezTo>
                  <a:cubicBezTo>
                    <a:pt x="11070754" y="1500218"/>
                    <a:pt x="11096278" y="1508850"/>
                    <a:pt x="11127532" y="1508850"/>
                  </a:cubicBezTo>
                  <a:cubicBezTo>
                    <a:pt x="11159679" y="1508850"/>
                    <a:pt x="11185352" y="1500367"/>
                    <a:pt x="11204551" y="1483400"/>
                  </a:cubicBezTo>
                  <a:cubicBezTo>
                    <a:pt x="11223750" y="1466434"/>
                    <a:pt x="11233349" y="1444705"/>
                    <a:pt x="11233349" y="1418213"/>
                  </a:cubicBezTo>
                  <a:cubicBezTo>
                    <a:pt x="11233349" y="1392020"/>
                    <a:pt x="11223601" y="1370812"/>
                    <a:pt x="11204104" y="1354589"/>
                  </a:cubicBezTo>
                  <a:cubicBezTo>
                    <a:pt x="11184608" y="1338367"/>
                    <a:pt x="11159084" y="1330256"/>
                    <a:pt x="11127532" y="1330256"/>
                  </a:cubicBezTo>
                  <a:close/>
                  <a:moveTo>
                    <a:pt x="6509545" y="1312843"/>
                  </a:moveTo>
                  <a:lnTo>
                    <a:pt x="6559104" y="1312843"/>
                  </a:lnTo>
                  <a:cubicBezTo>
                    <a:pt x="6574285" y="1312843"/>
                    <a:pt x="6585968" y="1316266"/>
                    <a:pt x="6594153" y="1323112"/>
                  </a:cubicBezTo>
                  <a:cubicBezTo>
                    <a:pt x="6602339" y="1329958"/>
                    <a:pt x="6606432" y="1339335"/>
                    <a:pt x="6606432" y="1351241"/>
                  </a:cubicBezTo>
                  <a:cubicBezTo>
                    <a:pt x="6606432" y="1379518"/>
                    <a:pt x="6588870" y="1393657"/>
                    <a:pt x="6553747" y="1393657"/>
                  </a:cubicBezTo>
                  <a:lnTo>
                    <a:pt x="6509545" y="1393657"/>
                  </a:lnTo>
                  <a:close/>
                  <a:moveTo>
                    <a:pt x="9049445" y="1288287"/>
                  </a:moveTo>
                  <a:lnTo>
                    <a:pt x="9049445" y="1305699"/>
                  </a:lnTo>
                  <a:cubicBezTo>
                    <a:pt x="9049445" y="1328917"/>
                    <a:pt x="9043269" y="1347967"/>
                    <a:pt x="9030916" y="1362849"/>
                  </a:cubicBezTo>
                  <a:cubicBezTo>
                    <a:pt x="9018563" y="1377732"/>
                    <a:pt x="9002415" y="1385174"/>
                    <a:pt x="8982472" y="1385174"/>
                  </a:cubicBezTo>
                  <a:cubicBezTo>
                    <a:pt x="8967887" y="1385174"/>
                    <a:pt x="8956651" y="1381155"/>
                    <a:pt x="8948763" y="1373119"/>
                  </a:cubicBezTo>
                  <a:cubicBezTo>
                    <a:pt x="8940875" y="1365082"/>
                    <a:pt x="8936931" y="1354813"/>
                    <a:pt x="8936931" y="1342311"/>
                  </a:cubicBezTo>
                  <a:cubicBezTo>
                    <a:pt x="8936931" y="1317606"/>
                    <a:pt x="8953005" y="1302574"/>
                    <a:pt x="8985151" y="1297216"/>
                  </a:cubicBezTo>
                  <a:close/>
                  <a:moveTo>
                    <a:pt x="5801420" y="1288287"/>
                  </a:moveTo>
                  <a:lnTo>
                    <a:pt x="5801420" y="1305699"/>
                  </a:lnTo>
                  <a:cubicBezTo>
                    <a:pt x="5801420" y="1328917"/>
                    <a:pt x="5795244" y="1347967"/>
                    <a:pt x="5782891" y="1362849"/>
                  </a:cubicBezTo>
                  <a:cubicBezTo>
                    <a:pt x="5770539" y="1377732"/>
                    <a:pt x="5754391" y="1385174"/>
                    <a:pt x="5734448" y="1385174"/>
                  </a:cubicBezTo>
                  <a:cubicBezTo>
                    <a:pt x="5719863" y="1385174"/>
                    <a:pt x="5708626" y="1381155"/>
                    <a:pt x="5700739" y="1373119"/>
                  </a:cubicBezTo>
                  <a:cubicBezTo>
                    <a:pt x="5692850" y="1365082"/>
                    <a:pt x="5688906" y="1354813"/>
                    <a:pt x="5688906" y="1342311"/>
                  </a:cubicBezTo>
                  <a:cubicBezTo>
                    <a:pt x="5688906" y="1317606"/>
                    <a:pt x="5704980" y="1302574"/>
                    <a:pt x="5737127" y="1297216"/>
                  </a:cubicBezTo>
                  <a:close/>
                  <a:moveTo>
                    <a:pt x="2353370" y="1288287"/>
                  </a:moveTo>
                  <a:lnTo>
                    <a:pt x="2353370" y="1305699"/>
                  </a:lnTo>
                  <a:cubicBezTo>
                    <a:pt x="2353370" y="1328917"/>
                    <a:pt x="2347194" y="1347967"/>
                    <a:pt x="2334841" y="1362849"/>
                  </a:cubicBezTo>
                  <a:cubicBezTo>
                    <a:pt x="2322489" y="1377732"/>
                    <a:pt x="2306341" y="1385174"/>
                    <a:pt x="2286398" y="1385174"/>
                  </a:cubicBezTo>
                  <a:cubicBezTo>
                    <a:pt x="2271813" y="1385174"/>
                    <a:pt x="2260576" y="1381155"/>
                    <a:pt x="2252688" y="1373119"/>
                  </a:cubicBezTo>
                  <a:cubicBezTo>
                    <a:pt x="2244800" y="1365082"/>
                    <a:pt x="2240856" y="1354813"/>
                    <a:pt x="2240856" y="1342311"/>
                  </a:cubicBezTo>
                  <a:cubicBezTo>
                    <a:pt x="2240856" y="1317606"/>
                    <a:pt x="2256930" y="1302574"/>
                    <a:pt x="2289077" y="1297216"/>
                  </a:cubicBezTo>
                  <a:close/>
                  <a:moveTo>
                    <a:pt x="3916512" y="1182023"/>
                  </a:moveTo>
                  <a:cubicBezTo>
                    <a:pt x="3964137" y="1182023"/>
                    <a:pt x="3987950" y="1211342"/>
                    <a:pt x="3987950" y="1269981"/>
                  </a:cubicBezTo>
                  <a:cubicBezTo>
                    <a:pt x="3987950" y="1301235"/>
                    <a:pt x="3981104" y="1325642"/>
                    <a:pt x="3967412" y="1343204"/>
                  </a:cubicBezTo>
                  <a:cubicBezTo>
                    <a:pt x="3953720" y="1360766"/>
                    <a:pt x="3936158" y="1369547"/>
                    <a:pt x="3914727" y="1369547"/>
                  </a:cubicBezTo>
                  <a:cubicBezTo>
                    <a:pt x="3892700" y="1369547"/>
                    <a:pt x="3875436" y="1359724"/>
                    <a:pt x="3862934" y="1340079"/>
                  </a:cubicBezTo>
                  <a:cubicBezTo>
                    <a:pt x="3850433" y="1320433"/>
                    <a:pt x="3844182" y="1294388"/>
                    <a:pt x="3844182" y="1261944"/>
                  </a:cubicBezTo>
                  <a:lnTo>
                    <a:pt x="3844182" y="1248996"/>
                  </a:lnTo>
                  <a:cubicBezTo>
                    <a:pt x="3844182" y="1239173"/>
                    <a:pt x="3844926" y="1228755"/>
                    <a:pt x="3846414" y="1217742"/>
                  </a:cubicBezTo>
                  <a:cubicBezTo>
                    <a:pt x="3851474" y="1209110"/>
                    <a:pt x="3860925" y="1200999"/>
                    <a:pt x="3874766" y="1193409"/>
                  </a:cubicBezTo>
                  <a:cubicBezTo>
                    <a:pt x="3888607" y="1185818"/>
                    <a:pt x="3902522" y="1182023"/>
                    <a:pt x="3916512" y="1182023"/>
                  </a:cubicBezTo>
                  <a:close/>
                  <a:moveTo>
                    <a:pt x="4496644" y="1168629"/>
                  </a:moveTo>
                  <a:cubicBezTo>
                    <a:pt x="4544270" y="1168629"/>
                    <a:pt x="4568082" y="1199734"/>
                    <a:pt x="4568082" y="1261944"/>
                  </a:cubicBezTo>
                  <a:cubicBezTo>
                    <a:pt x="4568082" y="1333679"/>
                    <a:pt x="4544567" y="1369547"/>
                    <a:pt x="4497538" y="1369547"/>
                  </a:cubicBezTo>
                  <a:cubicBezTo>
                    <a:pt x="4449318" y="1369547"/>
                    <a:pt x="4425207" y="1335167"/>
                    <a:pt x="4425207" y="1266409"/>
                  </a:cubicBezTo>
                  <a:cubicBezTo>
                    <a:pt x="4425207" y="1201222"/>
                    <a:pt x="4449019" y="1168629"/>
                    <a:pt x="4496644" y="1168629"/>
                  </a:cubicBezTo>
                  <a:close/>
                  <a:moveTo>
                    <a:pt x="10712748" y="1144519"/>
                  </a:moveTo>
                  <a:cubicBezTo>
                    <a:pt x="10750551" y="1144519"/>
                    <a:pt x="10769452" y="1170861"/>
                    <a:pt x="10769452" y="1223546"/>
                  </a:cubicBezTo>
                  <a:lnTo>
                    <a:pt x="10654259" y="1223546"/>
                  </a:lnTo>
                  <a:cubicBezTo>
                    <a:pt x="10656045" y="1199734"/>
                    <a:pt x="10662296" y="1180609"/>
                    <a:pt x="10673011" y="1166173"/>
                  </a:cubicBezTo>
                  <a:cubicBezTo>
                    <a:pt x="10683727" y="1151737"/>
                    <a:pt x="10696972" y="1144519"/>
                    <a:pt x="10712748" y="1144519"/>
                  </a:cubicBezTo>
                  <a:close/>
                  <a:moveTo>
                    <a:pt x="6509545" y="1141840"/>
                  </a:moveTo>
                  <a:lnTo>
                    <a:pt x="6544370" y="1141840"/>
                  </a:lnTo>
                  <a:cubicBezTo>
                    <a:pt x="6561039" y="1141840"/>
                    <a:pt x="6573317" y="1144593"/>
                    <a:pt x="6581205" y="1150100"/>
                  </a:cubicBezTo>
                  <a:cubicBezTo>
                    <a:pt x="6589093" y="1155606"/>
                    <a:pt x="6593037" y="1165057"/>
                    <a:pt x="6593037" y="1178451"/>
                  </a:cubicBezTo>
                  <a:cubicBezTo>
                    <a:pt x="6593037" y="1189465"/>
                    <a:pt x="6589019" y="1198618"/>
                    <a:pt x="6580982" y="1205910"/>
                  </a:cubicBezTo>
                  <a:cubicBezTo>
                    <a:pt x="6572945" y="1213203"/>
                    <a:pt x="6561039" y="1216849"/>
                    <a:pt x="6545263" y="1216849"/>
                  </a:cubicBezTo>
                  <a:lnTo>
                    <a:pt x="6509545" y="1216849"/>
                  </a:lnTo>
                  <a:close/>
                  <a:moveTo>
                    <a:pt x="9891217" y="1040488"/>
                  </a:moveTo>
                  <a:lnTo>
                    <a:pt x="9891217" y="1497688"/>
                  </a:lnTo>
                  <a:lnTo>
                    <a:pt x="10059542" y="1497688"/>
                  </a:lnTo>
                  <a:lnTo>
                    <a:pt x="10189469" y="1311950"/>
                  </a:lnTo>
                  <a:cubicBezTo>
                    <a:pt x="10202268" y="1292900"/>
                    <a:pt x="10214472" y="1272213"/>
                    <a:pt x="10226080" y="1249889"/>
                  </a:cubicBezTo>
                  <a:lnTo>
                    <a:pt x="10226080" y="1497688"/>
                  </a:lnTo>
                  <a:lnTo>
                    <a:pt x="10399763" y="1497688"/>
                  </a:lnTo>
                  <a:lnTo>
                    <a:pt x="10399763" y="1040488"/>
                  </a:lnTo>
                  <a:lnTo>
                    <a:pt x="10220722" y="1040488"/>
                  </a:lnTo>
                  <a:lnTo>
                    <a:pt x="10099725" y="1217742"/>
                  </a:lnTo>
                  <a:cubicBezTo>
                    <a:pt x="10085438" y="1238280"/>
                    <a:pt x="10074276" y="1257181"/>
                    <a:pt x="10066239" y="1274446"/>
                  </a:cubicBezTo>
                  <a:lnTo>
                    <a:pt x="10066239" y="1040488"/>
                  </a:lnTo>
                  <a:close/>
                  <a:moveTo>
                    <a:pt x="9310192" y="1040488"/>
                  </a:moveTo>
                  <a:lnTo>
                    <a:pt x="9310192" y="1497688"/>
                  </a:lnTo>
                  <a:lnTo>
                    <a:pt x="9500394" y="1497688"/>
                  </a:lnTo>
                  <a:lnTo>
                    <a:pt x="9500394" y="1319540"/>
                  </a:lnTo>
                  <a:lnTo>
                    <a:pt x="9606658" y="1319540"/>
                  </a:lnTo>
                  <a:lnTo>
                    <a:pt x="9606658" y="1497688"/>
                  </a:lnTo>
                  <a:lnTo>
                    <a:pt x="9796860" y="1497688"/>
                  </a:lnTo>
                  <a:lnTo>
                    <a:pt x="9796860" y="1040488"/>
                  </a:lnTo>
                  <a:lnTo>
                    <a:pt x="9606658" y="1040488"/>
                  </a:lnTo>
                  <a:lnTo>
                    <a:pt x="9606658" y="1195864"/>
                  </a:lnTo>
                  <a:lnTo>
                    <a:pt x="9500394" y="1195864"/>
                  </a:lnTo>
                  <a:lnTo>
                    <a:pt x="9500394" y="1040488"/>
                  </a:lnTo>
                  <a:close/>
                  <a:moveTo>
                    <a:pt x="8052892" y="1040488"/>
                  </a:moveTo>
                  <a:lnTo>
                    <a:pt x="8052892" y="1497688"/>
                  </a:lnTo>
                  <a:lnTo>
                    <a:pt x="8198446" y="1497688"/>
                  </a:lnTo>
                  <a:lnTo>
                    <a:pt x="8198446" y="1155681"/>
                  </a:lnTo>
                  <a:cubicBezTo>
                    <a:pt x="8199041" y="1161931"/>
                    <a:pt x="8200158" y="1169150"/>
                    <a:pt x="8201795" y="1177335"/>
                  </a:cubicBezTo>
                  <a:cubicBezTo>
                    <a:pt x="8203432" y="1185521"/>
                    <a:pt x="8205218" y="1193632"/>
                    <a:pt x="8207153" y="1201669"/>
                  </a:cubicBezTo>
                  <a:cubicBezTo>
                    <a:pt x="8209087" y="1209705"/>
                    <a:pt x="8210873" y="1216998"/>
                    <a:pt x="8212510" y="1223546"/>
                  </a:cubicBezTo>
                  <a:cubicBezTo>
                    <a:pt x="8214148" y="1230095"/>
                    <a:pt x="8215264" y="1234857"/>
                    <a:pt x="8215859" y="1237834"/>
                  </a:cubicBezTo>
                  <a:lnTo>
                    <a:pt x="8284618" y="1497688"/>
                  </a:lnTo>
                  <a:lnTo>
                    <a:pt x="8448031" y="1497688"/>
                  </a:lnTo>
                  <a:cubicBezTo>
                    <a:pt x="8496846" y="1317903"/>
                    <a:pt x="8522891" y="1220644"/>
                    <a:pt x="8526165" y="1205910"/>
                  </a:cubicBezTo>
                  <a:cubicBezTo>
                    <a:pt x="8529440" y="1191176"/>
                    <a:pt x="8533012" y="1173540"/>
                    <a:pt x="8536881" y="1153002"/>
                  </a:cubicBezTo>
                  <a:lnTo>
                    <a:pt x="8536881" y="1497688"/>
                  </a:lnTo>
                  <a:lnTo>
                    <a:pt x="8708778" y="1497688"/>
                  </a:lnTo>
                  <a:lnTo>
                    <a:pt x="8708778" y="1040488"/>
                  </a:lnTo>
                  <a:lnTo>
                    <a:pt x="8456514" y="1040488"/>
                  </a:lnTo>
                  <a:cubicBezTo>
                    <a:pt x="8416330" y="1188423"/>
                    <a:pt x="8394527" y="1270725"/>
                    <a:pt x="8391104" y="1287394"/>
                  </a:cubicBezTo>
                  <a:cubicBezTo>
                    <a:pt x="8387681" y="1304062"/>
                    <a:pt x="8385300" y="1316489"/>
                    <a:pt x="8383960" y="1324675"/>
                  </a:cubicBezTo>
                  <a:cubicBezTo>
                    <a:pt x="8382621" y="1332861"/>
                    <a:pt x="8381505" y="1340228"/>
                    <a:pt x="8380612" y="1346776"/>
                  </a:cubicBezTo>
                  <a:cubicBezTo>
                    <a:pt x="8377933" y="1324452"/>
                    <a:pt x="8373617" y="1300639"/>
                    <a:pt x="8367664" y="1275338"/>
                  </a:cubicBezTo>
                  <a:lnTo>
                    <a:pt x="8304709" y="1040488"/>
                  </a:lnTo>
                  <a:close/>
                  <a:moveTo>
                    <a:pt x="7452817" y="1040488"/>
                  </a:moveTo>
                  <a:lnTo>
                    <a:pt x="7452817" y="1497688"/>
                  </a:lnTo>
                  <a:lnTo>
                    <a:pt x="7621142" y="1497688"/>
                  </a:lnTo>
                  <a:lnTo>
                    <a:pt x="7751069" y="1311950"/>
                  </a:lnTo>
                  <a:cubicBezTo>
                    <a:pt x="7763868" y="1292900"/>
                    <a:pt x="7776072" y="1272213"/>
                    <a:pt x="7787681" y="1249889"/>
                  </a:cubicBezTo>
                  <a:lnTo>
                    <a:pt x="7787681" y="1497688"/>
                  </a:lnTo>
                  <a:lnTo>
                    <a:pt x="7961363" y="1497688"/>
                  </a:lnTo>
                  <a:lnTo>
                    <a:pt x="7961363" y="1040488"/>
                  </a:lnTo>
                  <a:lnTo>
                    <a:pt x="7782323" y="1040488"/>
                  </a:lnTo>
                  <a:lnTo>
                    <a:pt x="7661325" y="1217742"/>
                  </a:lnTo>
                  <a:cubicBezTo>
                    <a:pt x="7647038" y="1238280"/>
                    <a:pt x="7635876" y="1257181"/>
                    <a:pt x="7627839" y="1274446"/>
                  </a:cubicBezTo>
                  <a:lnTo>
                    <a:pt x="7627839" y="1040488"/>
                  </a:lnTo>
                  <a:close/>
                  <a:moveTo>
                    <a:pt x="6871792" y="1040488"/>
                  </a:moveTo>
                  <a:lnTo>
                    <a:pt x="6871792" y="1497688"/>
                  </a:lnTo>
                  <a:lnTo>
                    <a:pt x="7061995" y="1497688"/>
                  </a:lnTo>
                  <a:lnTo>
                    <a:pt x="7061995" y="1319540"/>
                  </a:lnTo>
                  <a:lnTo>
                    <a:pt x="7168258" y="1319540"/>
                  </a:lnTo>
                  <a:lnTo>
                    <a:pt x="7168258" y="1497688"/>
                  </a:lnTo>
                  <a:lnTo>
                    <a:pt x="7358460" y="1497688"/>
                  </a:lnTo>
                  <a:lnTo>
                    <a:pt x="7358460" y="1040488"/>
                  </a:lnTo>
                  <a:lnTo>
                    <a:pt x="7168258" y="1040488"/>
                  </a:lnTo>
                  <a:lnTo>
                    <a:pt x="7168258" y="1195864"/>
                  </a:lnTo>
                  <a:lnTo>
                    <a:pt x="7061995" y="1195864"/>
                  </a:lnTo>
                  <a:lnTo>
                    <a:pt x="7061995" y="1040488"/>
                  </a:lnTo>
                  <a:close/>
                  <a:moveTo>
                    <a:pt x="6319342" y="1040488"/>
                  </a:moveTo>
                  <a:lnTo>
                    <a:pt x="6319342" y="1497688"/>
                  </a:lnTo>
                  <a:lnTo>
                    <a:pt x="6629649" y="1497688"/>
                  </a:lnTo>
                  <a:cubicBezTo>
                    <a:pt x="6686799" y="1497688"/>
                    <a:pt x="6730033" y="1485856"/>
                    <a:pt x="6759353" y="1462192"/>
                  </a:cubicBezTo>
                  <a:cubicBezTo>
                    <a:pt x="6788672" y="1438529"/>
                    <a:pt x="6803331" y="1403479"/>
                    <a:pt x="6803331" y="1357045"/>
                  </a:cubicBezTo>
                  <a:cubicBezTo>
                    <a:pt x="6803331" y="1329661"/>
                    <a:pt x="6793211" y="1306146"/>
                    <a:pt x="6772970" y="1286501"/>
                  </a:cubicBezTo>
                  <a:cubicBezTo>
                    <a:pt x="6752730" y="1266855"/>
                    <a:pt x="6726536" y="1255247"/>
                    <a:pt x="6694389" y="1251675"/>
                  </a:cubicBezTo>
                  <a:cubicBezTo>
                    <a:pt x="6710760" y="1248698"/>
                    <a:pt x="6726238" y="1242522"/>
                    <a:pt x="6740824" y="1233146"/>
                  </a:cubicBezTo>
                  <a:cubicBezTo>
                    <a:pt x="6755409" y="1223770"/>
                    <a:pt x="6767017" y="1212235"/>
                    <a:pt x="6775649" y="1198543"/>
                  </a:cubicBezTo>
                  <a:cubicBezTo>
                    <a:pt x="6784281" y="1184851"/>
                    <a:pt x="6788597" y="1169075"/>
                    <a:pt x="6788597" y="1151216"/>
                  </a:cubicBezTo>
                  <a:cubicBezTo>
                    <a:pt x="6788597" y="1113711"/>
                    <a:pt x="6774608" y="1085880"/>
                    <a:pt x="6746628" y="1067723"/>
                  </a:cubicBezTo>
                  <a:cubicBezTo>
                    <a:pt x="6718648" y="1049566"/>
                    <a:pt x="6674744" y="1040488"/>
                    <a:pt x="6614915" y="1040488"/>
                  </a:cubicBezTo>
                  <a:close/>
                  <a:moveTo>
                    <a:pt x="3071317" y="1040488"/>
                  </a:moveTo>
                  <a:lnTo>
                    <a:pt x="3071317" y="1497688"/>
                  </a:lnTo>
                  <a:lnTo>
                    <a:pt x="3239642" y="1497688"/>
                  </a:lnTo>
                  <a:lnTo>
                    <a:pt x="3369569" y="1311950"/>
                  </a:lnTo>
                  <a:cubicBezTo>
                    <a:pt x="3382368" y="1292900"/>
                    <a:pt x="3394572" y="1272213"/>
                    <a:pt x="3406181" y="1249889"/>
                  </a:cubicBezTo>
                  <a:lnTo>
                    <a:pt x="3406181" y="1497688"/>
                  </a:lnTo>
                  <a:lnTo>
                    <a:pt x="3579863" y="1497688"/>
                  </a:lnTo>
                  <a:lnTo>
                    <a:pt x="3579863" y="1040488"/>
                  </a:lnTo>
                  <a:lnTo>
                    <a:pt x="3400823" y="1040488"/>
                  </a:lnTo>
                  <a:lnTo>
                    <a:pt x="3279826" y="1217742"/>
                  </a:lnTo>
                  <a:cubicBezTo>
                    <a:pt x="3265538" y="1238280"/>
                    <a:pt x="3254376" y="1257181"/>
                    <a:pt x="3246339" y="1274446"/>
                  </a:cubicBezTo>
                  <a:lnTo>
                    <a:pt x="3246339" y="1040488"/>
                  </a:lnTo>
                  <a:close/>
                  <a:moveTo>
                    <a:pt x="1518742" y="1040488"/>
                  </a:moveTo>
                  <a:lnTo>
                    <a:pt x="1518742" y="1497688"/>
                  </a:lnTo>
                  <a:lnTo>
                    <a:pt x="1708945" y="1497688"/>
                  </a:lnTo>
                  <a:lnTo>
                    <a:pt x="1708945" y="1168629"/>
                  </a:lnTo>
                  <a:lnTo>
                    <a:pt x="1815208" y="1168629"/>
                  </a:lnTo>
                  <a:lnTo>
                    <a:pt x="1815208" y="1497688"/>
                  </a:lnTo>
                  <a:lnTo>
                    <a:pt x="2005410" y="1497688"/>
                  </a:lnTo>
                  <a:lnTo>
                    <a:pt x="2005410" y="1040488"/>
                  </a:lnTo>
                  <a:close/>
                  <a:moveTo>
                    <a:pt x="10713641" y="1029326"/>
                  </a:moveTo>
                  <a:cubicBezTo>
                    <a:pt x="10667505" y="1029326"/>
                    <a:pt x="10625312" y="1039967"/>
                    <a:pt x="10587063" y="1061249"/>
                  </a:cubicBezTo>
                  <a:cubicBezTo>
                    <a:pt x="10548814" y="1082532"/>
                    <a:pt x="10519941" y="1111925"/>
                    <a:pt x="10500445" y="1149430"/>
                  </a:cubicBezTo>
                  <a:cubicBezTo>
                    <a:pt x="10480948" y="1186935"/>
                    <a:pt x="10471200" y="1230244"/>
                    <a:pt x="10471200" y="1279357"/>
                  </a:cubicBezTo>
                  <a:cubicBezTo>
                    <a:pt x="10471200" y="1350794"/>
                    <a:pt x="10493376" y="1406903"/>
                    <a:pt x="10537726" y="1447681"/>
                  </a:cubicBezTo>
                  <a:cubicBezTo>
                    <a:pt x="10582077" y="1488460"/>
                    <a:pt x="10644139" y="1508850"/>
                    <a:pt x="10723910" y="1508850"/>
                  </a:cubicBezTo>
                  <a:cubicBezTo>
                    <a:pt x="10789692" y="1508850"/>
                    <a:pt x="10845652" y="1499622"/>
                    <a:pt x="10891789" y="1481168"/>
                  </a:cubicBezTo>
                  <a:lnTo>
                    <a:pt x="10891789" y="1360617"/>
                  </a:lnTo>
                  <a:cubicBezTo>
                    <a:pt x="10852200" y="1377583"/>
                    <a:pt x="10810231" y="1386067"/>
                    <a:pt x="10765880" y="1386067"/>
                  </a:cubicBezTo>
                  <a:cubicBezTo>
                    <a:pt x="10734031" y="1386067"/>
                    <a:pt x="10708432" y="1380486"/>
                    <a:pt x="10689085" y="1369323"/>
                  </a:cubicBezTo>
                  <a:cubicBezTo>
                    <a:pt x="10669737" y="1358161"/>
                    <a:pt x="10658426" y="1342758"/>
                    <a:pt x="10655152" y="1323112"/>
                  </a:cubicBezTo>
                  <a:lnTo>
                    <a:pt x="10937776" y="1323112"/>
                  </a:lnTo>
                  <a:lnTo>
                    <a:pt x="10937776" y="1251675"/>
                  </a:lnTo>
                  <a:cubicBezTo>
                    <a:pt x="10937776" y="1207026"/>
                    <a:pt x="10929070" y="1168033"/>
                    <a:pt x="10911657" y="1134696"/>
                  </a:cubicBezTo>
                  <a:cubicBezTo>
                    <a:pt x="10894244" y="1101358"/>
                    <a:pt x="10868720" y="1075462"/>
                    <a:pt x="10835085" y="1057008"/>
                  </a:cubicBezTo>
                  <a:cubicBezTo>
                    <a:pt x="10801450" y="1038553"/>
                    <a:pt x="10760969" y="1029326"/>
                    <a:pt x="10713641" y="1029326"/>
                  </a:cubicBezTo>
                  <a:close/>
                  <a:moveTo>
                    <a:pt x="9001671" y="1029326"/>
                  </a:moveTo>
                  <a:cubicBezTo>
                    <a:pt x="8975180" y="1029326"/>
                    <a:pt x="8943331" y="1032749"/>
                    <a:pt x="8906124" y="1039595"/>
                  </a:cubicBezTo>
                  <a:cubicBezTo>
                    <a:pt x="8868917" y="1046441"/>
                    <a:pt x="8837960" y="1055222"/>
                    <a:pt x="8813255" y="1065937"/>
                  </a:cubicBezTo>
                  <a:lnTo>
                    <a:pt x="8813255" y="1189613"/>
                  </a:lnTo>
                  <a:cubicBezTo>
                    <a:pt x="8870107" y="1160443"/>
                    <a:pt x="8924132" y="1145858"/>
                    <a:pt x="8975329" y="1145858"/>
                  </a:cubicBezTo>
                  <a:cubicBezTo>
                    <a:pt x="8997951" y="1145858"/>
                    <a:pt x="9015959" y="1150621"/>
                    <a:pt x="9029353" y="1160146"/>
                  </a:cubicBezTo>
                  <a:cubicBezTo>
                    <a:pt x="9042748" y="1169671"/>
                    <a:pt x="9049445" y="1181874"/>
                    <a:pt x="9049445" y="1196757"/>
                  </a:cubicBezTo>
                  <a:lnTo>
                    <a:pt x="8936038" y="1211491"/>
                  </a:lnTo>
                  <a:cubicBezTo>
                    <a:pt x="8825608" y="1225779"/>
                    <a:pt x="8770392" y="1277869"/>
                    <a:pt x="8770392" y="1367761"/>
                  </a:cubicBezTo>
                  <a:cubicBezTo>
                    <a:pt x="8770392" y="1410623"/>
                    <a:pt x="8782596" y="1444854"/>
                    <a:pt x="8807004" y="1470452"/>
                  </a:cubicBezTo>
                  <a:cubicBezTo>
                    <a:pt x="8831412" y="1496051"/>
                    <a:pt x="8865196" y="1508850"/>
                    <a:pt x="8908356" y="1508850"/>
                  </a:cubicBezTo>
                  <a:cubicBezTo>
                    <a:pt x="8970864" y="1508850"/>
                    <a:pt x="9017298" y="1481912"/>
                    <a:pt x="9047659" y="1428036"/>
                  </a:cubicBezTo>
                  <a:lnTo>
                    <a:pt x="9049445" y="1428036"/>
                  </a:lnTo>
                  <a:lnTo>
                    <a:pt x="9049445" y="1497688"/>
                  </a:lnTo>
                  <a:lnTo>
                    <a:pt x="9223128" y="1497688"/>
                  </a:lnTo>
                  <a:lnTo>
                    <a:pt x="9223128" y="1245424"/>
                  </a:lnTo>
                  <a:cubicBezTo>
                    <a:pt x="9223128" y="1167736"/>
                    <a:pt x="9205640" y="1112297"/>
                    <a:pt x="9170666" y="1079109"/>
                  </a:cubicBezTo>
                  <a:cubicBezTo>
                    <a:pt x="9135691" y="1045920"/>
                    <a:pt x="9079360" y="1029326"/>
                    <a:pt x="9001671" y="1029326"/>
                  </a:cubicBezTo>
                  <a:close/>
                  <a:moveTo>
                    <a:pt x="5753647" y="1029326"/>
                  </a:moveTo>
                  <a:cubicBezTo>
                    <a:pt x="5727156" y="1029326"/>
                    <a:pt x="5695306" y="1032749"/>
                    <a:pt x="5658099" y="1039595"/>
                  </a:cubicBezTo>
                  <a:cubicBezTo>
                    <a:pt x="5620892" y="1046441"/>
                    <a:pt x="5589936" y="1055222"/>
                    <a:pt x="5565230" y="1065937"/>
                  </a:cubicBezTo>
                  <a:lnTo>
                    <a:pt x="5565230" y="1189613"/>
                  </a:lnTo>
                  <a:cubicBezTo>
                    <a:pt x="5622083" y="1160443"/>
                    <a:pt x="5676107" y="1145858"/>
                    <a:pt x="5727304" y="1145858"/>
                  </a:cubicBezTo>
                  <a:cubicBezTo>
                    <a:pt x="5749926" y="1145858"/>
                    <a:pt x="5767934" y="1150621"/>
                    <a:pt x="5781329" y="1160146"/>
                  </a:cubicBezTo>
                  <a:cubicBezTo>
                    <a:pt x="5794724" y="1169671"/>
                    <a:pt x="5801420" y="1181874"/>
                    <a:pt x="5801420" y="1196757"/>
                  </a:cubicBezTo>
                  <a:lnTo>
                    <a:pt x="5688013" y="1211491"/>
                  </a:lnTo>
                  <a:cubicBezTo>
                    <a:pt x="5577583" y="1225779"/>
                    <a:pt x="5522368" y="1277869"/>
                    <a:pt x="5522368" y="1367761"/>
                  </a:cubicBezTo>
                  <a:cubicBezTo>
                    <a:pt x="5522368" y="1410623"/>
                    <a:pt x="5534572" y="1444854"/>
                    <a:pt x="5558979" y="1470452"/>
                  </a:cubicBezTo>
                  <a:cubicBezTo>
                    <a:pt x="5583387" y="1496051"/>
                    <a:pt x="5617171" y="1508850"/>
                    <a:pt x="5660331" y="1508850"/>
                  </a:cubicBezTo>
                  <a:cubicBezTo>
                    <a:pt x="5722839" y="1508850"/>
                    <a:pt x="5769274" y="1481912"/>
                    <a:pt x="5799634" y="1428036"/>
                  </a:cubicBezTo>
                  <a:lnTo>
                    <a:pt x="5801420" y="1428036"/>
                  </a:lnTo>
                  <a:lnTo>
                    <a:pt x="5801420" y="1497688"/>
                  </a:lnTo>
                  <a:lnTo>
                    <a:pt x="5975103" y="1497688"/>
                  </a:lnTo>
                  <a:lnTo>
                    <a:pt x="5975103" y="1245424"/>
                  </a:lnTo>
                  <a:cubicBezTo>
                    <a:pt x="5975103" y="1167736"/>
                    <a:pt x="5957616" y="1112297"/>
                    <a:pt x="5922641" y="1079109"/>
                  </a:cubicBezTo>
                  <a:cubicBezTo>
                    <a:pt x="5887666" y="1045920"/>
                    <a:pt x="5831335" y="1029326"/>
                    <a:pt x="5753647" y="1029326"/>
                  </a:cubicBezTo>
                  <a:close/>
                  <a:moveTo>
                    <a:pt x="5244953" y="1029326"/>
                  </a:moveTo>
                  <a:cubicBezTo>
                    <a:pt x="5194946" y="1029326"/>
                    <a:pt x="5143154" y="1036469"/>
                    <a:pt x="5089575" y="1050757"/>
                  </a:cubicBezTo>
                  <a:lnTo>
                    <a:pt x="5089575" y="1161039"/>
                  </a:lnTo>
                  <a:cubicBezTo>
                    <a:pt x="5127973" y="1147644"/>
                    <a:pt x="5164883" y="1140947"/>
                    <a:pt x="5200304" y="1140947"/>
                  </a:cubicBezTo>
                  <a:cubicBezTo>
                    <a:pt x="5225604" y="1140947"/>
                    <a:pt x="5243761" y="1143477"/>
                    <a:pt x="5254775" y="1148537"/>
                  </a:cubicBezTo>
                  <a:cubicBezTo>
                    <a:pt x="5265788" y="1153597"/>
                    <a:pt x="5271295" y="1162080"/>
                    <a:pt x="5271295" y="1173987"/>
                  </a:cubicBezTo>
                  <a:cubicBezTo>
                    <a:pt x="5271295" y="1188274"/>
                    <a:pt x="5266086" y="1198394"/>
                    <a:pt x="5255668" y="1204347"/>
                  </a:cubicBezTo>
                  <a:cubicBezTo>
                    <a:pt x="5245250" y="1210301"/>
                    <a:pt x="5227093" y="1213277"/>
                    <a:pt x="5201197" y="1213277"/>
                  </a:cubicBezTo>
                  <a:lnTo>
                    <a:pt x="5111453" y="1213277"/>
                  </a:lnTo>
                  <a:lnTo>
                    <a:pt x="5111453" y="1314629"/>
                  </a:lnTo>
                  <a:lnTo>
                    <a:pt x="5199411" y="1314629"/>
                  </a:lnTo>
                  <a:cubicBezTo>
                    <a:pt x="5231260" y="1314629"/>
                    <a:pt x="5252914" y="1317680"/>
                    <a:pt x="5264374" y="1323782"/>
                  </a:cubicBezTo>
                  <a:cubicBezTo>
                    <a:pt x="5275834" y="1329884"/>
                    <a:pt x="5281564" y="1340674"/>
                    <a:pt x="5281564" y="1356152"/>
                  </a:cubicBezTo>
                  <a:cubicBezTo>
                    <a:pt x="5281564" y="1369249"/>
                    <a:pt x="5275090" y="1378551"/>
                    <a:pt x="5262142" y="1384057"/>
                  </a:cubicBezTo>
                  <a:cubicBezTo>
                    <a:pt x="5249194" y="1389564"/>
                    <a:pt x="5227540" y="1392317"/>
                    <a:pt x="5197178" y="1392317"/>
                  </a:cubicBezTo>
                  <a:cubicBezTo>
                    <a:pt x="5157888" y="1392317"/>
                    <a:pt x="5116216" y="1383834"/>
                    <a:pt x="5072163" y="1366868"/>
                  </a:cubicBezTo>
                  <a:lnTo>
                    <a:pt x="5072163" y="1484740"/>
                  </a:lnTo>
                  <a:cubicBezTo>
                    <a:pt x="5121871" y="1498729"/>
                    <a:pt x="5172473" y="1505724"/>
                    <a:pt x="5223967" y="1505724"/>
                  </a:cubicBezTo>
                  <a:cubicBezTo>
                    <a:pt x="5280224" y="1505724"/>
                    <a:pt x="5327254" y="1500887"/>
                    <a:pt x="5365056" y="1491214"/>
                  </a:cubicBezTo>
                  <a:cubicBezTo>
                    <a:pt x="5402859" y="1481540"/>
                    <a:pt x="5431285" y="1466657"/>
                    <a:pt x="5450335" y="1446565"/>
                  </a:cubicBezTo>
                  <a:cubicBezTo>
                    <a:pt x="5469385" y="1426473"/>
                    <a:pt x="5478910" y="1399015"/>
                    <a:pt x="5478910" y="1364189"/>
                  </a:cubicBezTo>
                  <a:cubicBezTo>
                    <a:pt x="5478910" y="1334423"/>
                    <a:pt x="5467897" y="1310387"/>
                    <a:pt x="5445871" y="1292082"/>
                  </a:cubicBezTo>
                  <a:cubicBezTo>
                    <a:pt x="5423844" y="1273776"/>
                    <a:pt x="5392590" y="1263135"/>
                    <a:pt x="5352108" y="1260158"/>
                  </a:cubicBezTo>
                  <a:lnTo>
                    <a:pt x="5352108" y="1258819"/>
                  </a:lnTo>
                  <a:cubicBezTo>
                    <a:pt x="5390208" y="1252568"/>
                    <a:pt x="5419230" y="1239992"/>
                    <a:pt x="5439173" y="1221091"/>
                  </a:cubicBezTo>
                  <a:cubicBezTo>
                    <a:pt x="5459116" y="1202189"/>
                    <a:pt x="5469087" y="1178898"/>
                    <a:pt x="5469087" y="1151216"/>
                  </a:cubicBezTo>
                  <a:cubicBezTo>
                    <a:pt x="5469087" y="1107758"/>
                    <a:pt x="5451451" y="1076579"/>
                    <a:pt x="5416179" y="1057677"/>
                  </a:cubicBezTo>
                  <a:cubicBezTo>
                    <a:pt x="5380907" y="1038776"/>
                    <a:pt x="5323831" y="1029326"/>
                    <a:pt x="5244953" y="1029326"/>
                  </a:cubicBezTo>
                  <a:close/>
                  <a:moveTo>
                    <a:pt x="4496644" y="1029326"/>
                  </a:moveTo>
                  <a:cubicBezTo>
                    <a:pt x="4444258" y="1029326"/>
                    <a:pt x="4397971" y="1038851"/>
                    <a:pt x="4357788" y="1057901"/>
                  </a:cubicBezTo>
                  <a:cubicBezTo>
                    <a:pt x="4317604" y="1076951"/>
                    <a:pt x="4286648" y="1104335"/>
                    <a:pt x="4264919" y="1140054"/>
                  </a:cubicBezTo>
                  <a:cubicBezTo>
                    <a:pt x="4243190" y="1175772"/>
                    <a:pt x="4232325" y="1217891"/>
                    <a:pt x="4232325" y="1266409"/>
                  </a:cubicBezTo>
                  <a:cubicBezTo>
                    <a:pt x="4232325" y="1342013"/>
                    <a:pt x="4255469" y="1401321"/>
                    <a:pt x="4301754" y="1444333"/>
                  </a:cubicBezTo>
                  <a:cubicBezTo>
                    <a:pt x="4348039" y="1487344"/>
                    <a:pt x="4412705" y="1508850"/>
                    <a:pt x="4495752" y="1508850"/>
                  </a:cubicBezTo>
                  <a:cubicBezTo>
                    <a:pt x="4579393" y="1508850"/>
                    <a:pt x="4644505" y="1486823"/>
                    <a:pt x="4691088" y="1442770"/>
                  </a:cubicBezTo>
                  <a:cubicBezTo>
                    <a:pt x="4737672" y="1398717"/>
                    <a:pt x="4760963" y="1338144"/>
                    <a:pt x="4760963" y="1261051"/>
                  </a:cubicBezTo>
                  <a:cubicBezTo>
                    <a:pt x="4760963" y="1217296"/>
                    <a:pt x="4750322" y="1177707"/>
                    <a:pt x="4729040" y="1142286"/>
                  </a:cubicBezTo>
                  <a:cubicBezTo>
                    <a:pt x="4707757" y="1106865"/>
                    <a:pt x="4677247" y="1079183"/>
                    <a:pt x="4637510" y="1059240"/>
                  </a:cubicBezTo>
                  <a:cubicBezTo>
                    <a:pt x="4597773" y="1039297"/>
                    <a:pt x="4550818" y="1029326"/>
                    <a:pt x="4496644" y="1029326"/>
                  </a:cubicBezTo>
                  <a:close/>
                  <a:moveTo>
                    <a:pt x="2865042" y="1029326"/>
                  </a:moveTo>
                  <a:cubicBezTo>
                    <a:pt x="2810868" y="1029326"/>
                    <a:pt x="2763243" y="1039223"/>
                    <a:pt x="2722166" y="1059017"/>
                  </a:cubicBezTo>
                  <a:cubicBezTo>
                    <a:pt x="2681090" y="1078811"/>
                    <a:pt x="2649464" y="1107386"/>
                    <a:pt x="2627289" y="1144742"/>
                  </a:cubicBezTo>
                  <a:cubicBezTo>
                    <a:pt x="2605113" y="1182098"/>
                    <a:pt x="2594026" y="1226969"/>
                    <a:pt x="2594026" y="1279357"/>
                  </a:cubicBezTo>
                  <a:cubicBezTo>
                    <a:pt x="2594026" y="1323112"/>
                    <a:pt x="2604443" y="1362552"/>
                    <a:pt x="2625280" y="1397675"/>
                  </a:cubicBezTo>
                  <a:cubicBezTo>
                    <a:pt x="2646115" y="1432799"/>
                    <a:pt x="2675509" y="1460109"/>
                    <a:pt x="2713460" y="1479605"/>
                  </a:cubicBezTo>
                  <a:cubicBezTo>
                    <a:pt x="2751411" y="1499102"/>
                    <a:pt x="2794497" y="1508850"/>
                    <a:pt x="2842717" y="1508850"/>
                  </a:cubicBezTo>
                  <a:cubicBezTo>
                    <a:pt x="2876948" y="1508850"/>
                    <a:pt x="2907160" y="1506617"/>
                    <a:pt x="2933354" y="1502153"/>
                  </a:cubicBezTo>
                  <a:cubicBezTo>
                    <a:pt x="2959547" y="1497688"/>
                    <a:pt x="2978746" y="1491883"/>
                    <a:pt x="2990950" y="1484740"/>
                  </a:cubicBezTo>
                  <a:lnTo>
                    <a:pt x="2990950" y="1344097"/>
                  </a:lnTo>
                  <a:cubicBezTo>
                    <a:pt x="2961185" y="1361063"/>
                    <a:pt x="2928591" y="1369547"/>
                    <a:pt x="2893170" y="1369547"/>
                  </a:cubicBezTo>
                  <a:cubicBezTo>
                    <a:pt x="2860130" y="1369547"/>
                    <a:pt x="2834160" y="1360840"/>
                    <a:pt x="2815259" y="1343427"/>
                  </a:cubicBezTo>
                  <a:cubicBezTo>
                    <a:pt x="2796357" y="1326014"/>
                    <a:pt x="2786907" y="1301532"/>
                    <a:pt x="2786907" y="1269981"/>
                  </a:cubicBezTo>
                  <a:cubicBezTo>
                    <a:pt x="2786907" y="1237834"/>
                    <a:pt x="2796506" y="1212905"/>
                    <a:pt x="2815705" y="1195195"/>
                  </a:cubicBezTo>
                  <a:cubicBezTo>
                    <a:pt x="2834904" y="1177484"/>
                    <a:pt x="2863107" y="1168629"/>
                    <a:pt x="2900314" y="1168629"/>
                  </a:cubicBezTo>
                  <a:cubicBezTo>
                    <a:pt x="2915494" y="1168629"/>
                    <a:pt x="2932014" y="1171456"/>
                    <a:pt x="2949874" y="1177112"/>
                  </a:cubicBezTo>
                  <a:cubicBezTo>
                    <a:pt x="2967733" y="1182767"/>
                    <a:pt x="2981425" y="1189316"/>
                    <a:pt x="2990950" y="1196757"/>
                  </a:cubicBezTo>
                  <a:lnTo>
                    <a:pt x="2990950" y="1048524"/>
                  </a:lnTo>
                  <a:cubicBezTo>
                    <a:pt x="2984104" y="1043464"/>
                    <a:pt x="2968849" y="1038999"/>
                    <a:pt x="2945186" y="1035130"/>
                  </a:cubicBezTo>
                  <a:cubicBezTo>
                    <a:pt x="2921522" y="1031260"/>
                    <a:pt x="2894807" y="1029326"/>
                    <a:pt x="2865042" y="1029326"/>
                  </a:cubicBezTo>
                  <a:close/>
                  <a:moveTo>
                    <a:pt x="2305597" y="1029326"/>
                  </a:moveTo>
                  <a:cubicBezTo>
                    <a:pt x="2279105" y="1029326"/>
                    <a:pt x="2247256" y="1032749"/>
                    <a:pt x="2210049" y="1039595"/>
                  </a:cubicBezTo>
                  <a:cubicBezTo>
                    <a:pt x="2172842" y="1046441"/>
                    <a:pt x="2141886" y="1055222"/>
                    <a:pt x="2117180" y="1065937"/>
                  </a:cubicBezTo>
                  <a:lnTo>
                    <a:pt x="2117180" y="1189613"/>
                  </a:lnTo>
                  <a:cubicBezTo>
                    <a:pt x="2174033" y="1160443"/>
                    <a:pt x="2228057" y="1145858"/>
                    <a:pt x="2279254" y="1145858"/>
                  </a:cubicBezTo>
                  <a:cubicBezTo>
                    <a:pt x="2301876" y="1145858"/>
                    <a:pt x="2319884" y="1150621"/>
                    <a:pt x="2333278" y="1160146"/>
                  </a:cubicBezTo>
                  <a:cubicBezTo>
                    <a:pt x="2346673" y="1169671"/>
                    <a:pt x="2353370" y="1181874"/>
                    <a:pt x="2353370" y="1196757"/>
                  </a:cubicBezTo>
                  <a:lnTo>
                    <a:pt x="2239963" y="1211491"/>
                  </a:lnTo>
                  <a:cubicBezTo>
                    <a:pt x="2129533" y="1225779"/>
                    <a:pt x="2074318" y="1277869"/>
                    <a:pt x="2074318" y="1367761"/>
                  </a:cubicBezTo>
                  <a:cubicBezTo>
                    <a:pt x="2074318" y="1410623"/>
                    <a:pt x="2086522" y="1444854"/>
                    <a:pt x="2110930" y="1470452"/>
                  </a:cubicBezTo>
                  <a:cubicBezTo>
                    <a:pt x="2135337" y="1496051"/>
                    <a:pt x="2169121" y="1508850"/>
                    <a:pt x="2212281" y="1508850"/>
                  </a:cubicBezTo>
                  <a:cubicBezTo>
                    <a:pt x="2274789" y="1508850"/>
                    <a:pt x="2321224" y="1481912"/>
                    <a:pt x="2351585" y="1428036"/>
                  </a:cubicBezTo>
                  <a:lnTo>
                    <a:pt x="2353370" y="1428036"/>
                  </a:lnTo>
                  <a:lnTo>
                    <a:pt x="2353370" y="1497688"/>
                  </a:lnTo>
                  <a:lnTo>
                    <a:pt x="2527053" y="1497688"/>
                  </a:lnTo>
                  <a:lnTo>
                    <a:pt x="2527053" y="1245424"/>
                  </a:lnTo>
                  <a:cubicBezTo>
                    <a:pt x="2527053" y="1167736"/>
                    <a:pt x="2509566" y="1112297"/>
                    <a:pt x="2474591" y="1079109"/>
                  </a:cubicBezTo>
                  <a:cubicBezTo>
                    <a:pt x="2439616" y="1045920"/>
                    <a:pt x="2383285" y="1029326"/>
                    <a:pt x="2305597" y="1029326"/>
                  </a:cubicBezTo>
                  <a:close/>
                  <a:moveTo>
                    <a:pt x="11025734" y="857429"/>
                  </a:moveTo>
                  <a:lnTo>
                    <a:pt x="11049844" y="1282036"/>
                  </a:lnTo>
                  <a:lnTo>
                    <a:pt x="11202542" y="1282036"/>
                  </a:lnTo>
                  <a:lnTo>
                    <a:pt x="11226205" y="857429"/>
                  </a:lnTo>
                  <a:close/>
                  <a:moveTo>
                    <a:pt x="1280320" y="846714"/>
                  </a:moveTo>
                  <a:cubicBezTo>
                    <a:pt x="1210966" y="846714"/>
                    <a:pt x="1149649" y="861075"/>
                    <a:pt x="1096368" y="889799"/>
                  </a:cubicBezTo>
                  <a:cubicBezTo>
                    <a:pt x="1043088" y="918523"/>
                    <a:pt x="1001862" y="959228"/>
                    <a:pt x="972692" y="1011913"/>
                  </a:cubicBezTo>
                  <a:cubicBezTo>
                    <a:pt x="943522" y="1064598"/>
                    <a:pt x="928936" y="1124724"/>
                    <a:pt x="928936" y="1192292"/>
                  </a:cubicBezTo>
                  <a:cubicBezTo>
                    <a:pt x="928936" y="1255098"/>
                    <a:pt x="941959" y="1310536"/>
                    <a:pt x="968004" y="1358608"/>
                  </a:cubicBezTo>
                  <a:cubicBezTo>
                    <a:pt x="994049" y="1406679"/>
                    <a:pt x="1031777" y="1443737"/>
                    <a:pt x="1081188" y="1469782"/>
                  </a:cubicBezTo>
                  <a:cubicBezTo>
                    <a:pt x="1130599" y="1495827"/>
                    <a:pt x="1189386" y="1508850"/>
                    <a:pt x="1257549" y="1508850"/>
                  </a:cubicBezTo>
                  <a:cubicBezTo>
                    <a:pt x="1326903" y="1508850"/>
                    <a:pt x="1388071" y="1499325"/>
                    <a:pt x="1441054" y="1480275"/>
                  </a:cubicBezTo>
                  <a:lnTo>
                    <a:pt x="1441054" y="1308378"/>
                  </a:lnTo>
                  <a:cubicBezTo>
                    <a:pt x="1393429" y="1332191"/>
                    <a:pt x="1346251" y="1344097"/>
                    <a:pt x="1299518" y="1344097"/>
                  </a:cubicBezTo>
                  <a:cubicBezTo>
                    <a:pt x="1248917" y="1344097"/>
                    <a:pt x="1208510" y="1329289"/>
                    <a:pt x="1178298" y="1299672"/>
                  </a:cubicBezTo>
                  <a:cubicBezTo>
                    <a:pt x="1148086" y="1270055"/>
                    <a:pt x="1132980" y="1229648"/>
                    <a:pt x="1132980" y="1178451"/>
                  </a:cubicBezTo>
                  <a:cubicBezTo>
                    <a:pt x="1132980" y="1126957"/>
                    <a:pt x="1148086" y="1086178"/>
                    <a:pt x="1178298" y="1056115"/>
                  </a:cubicBezTo>
                  <a:cubicBezTo>
                    <a:pt x="1208510" y="1026051"/>
                    <a:pt x="1249810" y="1011020"/>
                    <a:pt x="1302197" y="1011020"/>
                  </a:cubicBezTo>
                  <a:cubicBezTo>
                    <a:pt x="1327498" y="1011020"/>
                    <a:pt x="1352501" y="1013996"/>
                    <a:pt x="1377207" y="1019949"/>
                  </a:cubicBezTo>
                  <a:cubicBezTo>
                    <a:pt x="1401912" y="1025903"/>
                    <a:pt x="1423195" y="1034237"/>
                    <a:pt x="1441054" y="1044953"/>
                  </a:cubicBezTo>
                  <a:lnTo>
                    <a:pt x="1441054" y="866805"/>
                  </a:lnTo>
                  <a:cubicBezTo>
                    <a:pt x="1389262" y="853411"/>
                    <a:pt x="1335684" y="846714"/>
                    <a:pt x="1280320" y="846714"/>
                  </a:cubicBezTo>
                  <a:close/>
                  <a:moveTo>
                    <a:pt x="4124128" y="804744"/>
                  </a:moveTo>
                  <a:cubicBezTo>
                    <a:pt x="4116984" y="809804"/>
                    <a:pt x="4107682" y="814641"/>
                    <a:pt x="4096222" y="819255"/>
                  </a:cubicBezTo>
                  <a:cubicBezTo>
                    <a:pt x="4084763" y="823868"/>
                    <a:pt x="4073675" y="827515"/>
                    <a:pt x="4062959" y="830194"/>
                  </a:cubicBezTo>
                  <a:cubicBezTo>
                    <a:pt x="4052244" y="832873"/>
                    <a:pt x="4026496" y="836593"/>
                    <a:pt x="3985717" y="841356"/>
                  </a:cubicBezTo>
                  <a:cubicBezTo>
                    <a:pt x="3926781" y="848202"/>
                    <a:pt x="3884663" y="854676"/>
                    <a:pt x="3859362" y="860778"/>
                  </a:cubicBezTo>
                  <a:cubicBezTo>
                    <a:pt x="3834061" y="866880"/>
                    <a:pt x="3813821" y="874098"/>
                    <a:pt x="3798640" y="882432"/>
                  </a:cubicBezTo>
                  <a:cubicBezTo>
                    <a:pt x="3749527" y="908924"/>
                    <a:pt x="3712692" y="949926"/>
                    <a:pt x="3688136" y="1005439"/>
                  </a:cubicBezTo>
                  <a:cubicBezTo>
                    <a:pt x="3663579" y="1060952"/>
                    <a:pt x="3651301" y="1129040"/>
                    <a:pt x="3651301" y="1209705"/>
                  </a:cubicBezTo>
                  <a:cubicBezTo>
                    <a:pt x="3651301" y="1308825"/>
                    <a:pt x="3673253" y="1383462"/>
                    <a:pt x="3717157" y="1433617"/>
                  </a:cubicBezTo>
                  <a:cubicBezTo>
                    <a:pt x="3761062" y="1483772"/>
                    <a:pt x="3825132" y="1508850"/>
                    <a:pt x="3909368" y="1508850"/>
                  </a:cubicBezTo>
                  <a:cubicBezTo>
                    <a:pt x="3964137" y="1508850"/>
                    <a:pt x="4011986" y="1498804"/>
                    <a:pt x="4052914" y="1478712"/>
                  </a:cubicBezTo>
                  <a:cubicBezTo>
                    <a:pt x="4093841" y="1458620"/>
                    <a:pt x="4125244" y="1430120"/>
                    <a:pt x="4147121" y="1393210"/>
                  </a:cubicBezTo>
                  <a:cubicBezTo>
                    <a:pt x="4169000" y="1356301"/>
                    <a:pt x="4179938" y="1313736"/>
                    <a:pt x="4179938" y="1265516"/>
                  </a:cubicBezTo>
                  <a:cubicBezTo>
                    <a:pt x="4179938" y="1195567"/>
                    <a:pt x="4162749" y="1142881"/>
                    <a:pt x="4128369" y="1107460"/>
                  </a:cubicBezTo>
                  <a:cubicBezTo>
                    <a:pt x="4093990" y="1072039"/>
                    <a:pt x="4043463" y="1054329"/>
                    <a:pt x="3976788" y="1054329"/>
                  </a:cubicBezTo>
                  <a:cubicBezTo>
                    <a:pt x="3926484" y="1054329"/>
                    <a:pt x="3883919" y="1070700"/>
                    <a:pt x="3849093" y="1103442"/>
                  </a:cubicBezTo>
                  <a:lnTo>
                    <a:pt x="3847308" y="1103442"/>
                  </a:lnTo>
                  <a:cubicBezTo>
                    <a:pt x="3850284" y="1072486"/>
                    <a:pt x="3856014" y="1048822"/>
                    <a:pt x="3864497" y="1032451"/>
                  </a:cubicBezTo>
                  <a:cubicBezTo>
                    <a:pt x="3872980" y="1016080"/>
                    <a:pt x="3885779" y="1004843"/>
                    <a:pt x="3902895" y="998741"/>
                  </a:cubicBezTo>
                  <a:cubicBezTo>
                    <a:pt x="3920010" y="992639"/>
                    <a:pt x="3959226" y="985868"/>
                    <a:pt x="4020543" y="978426"/>
                  </a:cubicBezTo>
                  <a:cubicBezTo>
                    <a:pt x="4055667" y="973962"/>
                    <a:pt x="4079479" y="969348"/>
                    <a:pt x="4091981" y="964585"/>
                  </a:cubicBezTo>
                  <a:cubicBezTo>
                    <a:pt x="4104482" y="959823"/>
                    <a:pt x="4115198" y="953126"/>
                    <a:pt x="4124128" y="944494"/>
                  </a:cubicBezTo>
                  <a:close/>
                  <a:moveTo>
                    <a:pt x="0" y="0"/>
                  </a:moveTo>
                  <a:lnTo>
                    <a:pt x="12192001" y="0"/>
                  </a:lnTo>
                  <a:lnTo>
                    <a:pt x="12192001" y="3429000"/>
                  </a:lnTo>
                  <a:lnTo>
                    <a:pt x="0" y="34290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0"/>
                  </a:schemeClr>
                </a:gs>
                <a:gs pos="28000">
                  <a:schemeClr val="tx1">
                    <a:alpha val="8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TextBox 35">
              <a:extLst>
                <a:ext uri="{FF2B5EF4-FFF2-40B4-BE49-F238E27FC236}">
                  <a16:creationId xmlns:a16="http://schemas.microsoft.com/office/drawing/2014/main" id="{00000000-0008-0000-0E00-000024000000}"/>
                </a:ext>
              </a:extLst>
            </p:cNvPr>
            <p:cNvSpPr txBox="1"/>
            <p:nvPr/>
          </p:nvSpPr>
          <p:spPr>
            <a:xfrm>
              <a:off x="0" y="5205055"/>
              <a:ext cx="12192001" cy="1077218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32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ea typeface="Segoe UI Black" panose="020B0A02040204020203" pitchFamily="34" charset="0"/>
                  <a:cs typeface="Segoe UI" panose="020B0502040204020203" pitchFamily="34" charset="0"/>
                </a:rPr>
                <a:t>Далее предлагаем попробовать </a:t>
              </a:r>
            </a:p>
            <a:p>
              <a:pPr algn="ctr"/>
              <a:r>
                <a:rPr lang="ru-RU" sz="32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ea typeface="Segoe UI Black" panose="020B0A02040204020203" pitchFamily="34" charset="0"/>
                  <a:cs typeface="Segoe UI" panose="020B0502040204020203" pitchFamily="34" charset="0"/>
                </a:rPr>
                <a:t>наш дашборд в действии </a:t>
              </a:r>
              <a:r>
                <a:rPr lang="ru-RU" sz="32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ea typeface="Segoe UI Black" panose="020B0A02040204020203" pitchFamily="34" charset="0"/>
                  <a:cs typeface="Segoe UI" panose="020B0502040204020203" pitchFamily="34" charset="0"/>
                  <a:sym typeface="Wingdings" panose="05000000000000000000" pitchFamily="2" charset="2"/>
                </a:rPr>
                <a:t></a:t>
              </a:r>
              <a:endParaRPr lang="en-US" sz="3200" b="1" dirty="0">
                <a:solidFill>
                  <a:schemeClr val="accent1">
                    <a:lumMod val="20000"/>
                    <a:lumOff val="80000"/>
                  </a:schemeClr>
                </a:solidFill>
                <a:ea typeface="Segoe UI Black" panose="020B0A02040204020203" pitchFamily="34" charset="0"/>
                <a:cs typeface="Segoe UI" panose="020B0502040204020203" pitchFamily="34" charset="0"/>
              </a:endParaRPr>
            </a:p>
          </p:txBody>
        </p:sp>
      </p:grp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3" name="3D Model 2" descr="Football">
                <a:extLst>
                  <a:ext uri="{FF2B5EF4-FFF2-40B4-BE49-F238E27FC236}">
                    <a16:creationId xmlns:a16="http://schemas.microsoft.com/office/drawing/2014/main" id="{C4CC8FBF-C539-5FD7-DC56-47FABB96721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797234265"/>
                  </p:ext>
                </p:extLst>
              </p:nvPr>
            </p:nvGraphicFramePr>
            <p:xfrm>
              <a:off x="3640637" y="1967693"/>
              <a:ext cx="831487" cy="831487"/>
            </p:xfrm>
            <a:graphic>
              <a:graphicData uri="http://schemas.microsoft.com/office/drawing/2017/model3d">
                <am3d:model3d r:embed="rId7">
                  <am3d:spPr>
                    <a:xfrm>
                      <a:off x="0" y="0"/>
                      <a:ext cx="831487" cy="831487"/>
                    </a:xfrm>
                    <a:prstGeom prst="rect">
                      <a:avLst/>
                    </a:prstGeom>
                  </am3d:spPr>
                  <am3d:camera>
                    <am3d:pos x="0" y="0" z="8146919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4545592" d="1000000"/>
                    <am3d:preTrans dx="-201138" dy="-18600209" dz="-351418"/>
                    <am3d:scale>
                      <am3d:sx n="1000000" d="1000000"/>
                      <am3d:sy n="1000000" d="1000000"/>
                      <am3d:sz n="1000000" d="1000000"/>
                    </am3d:scale>
                    <am3d:rot ax="-10407305" ay="-856017" az="-97184"/>
                    <am3d:postTrans dx="0" dy="0" dz="0"/>
                  </am3d:trans>
                  <am3d:raster rName="Office3DRenderer" rVer="16.0.8326">
                    <am3d:blip r:embed="rId8"/>
                  </am3d:raster>
                  <am3d:objViewport viewportSz="1360615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3" name="3D Model 2" descr="Football">
                <a:extLst>
                  <a:ext uri="{FF2B5EF4-FFF2-40B4-BE49-F238E27FC236}">
                    <a16:creationId xmlns:a16="http://schemas.microsoft.com/office/drawing/2014/main" id="{C4CC8FBF-C539-5FD7-DC56-47FABB96721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640637" y="1967693"/>
                <a:ext cx="831487" cy="831487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9846976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00000000000000000000E+00&quot;&gt;&lt;m_msothmcolidx val=&quot;0&quot;/&gt;&lt;m_rgb r=&quot;F4&quot; g=&quot;97&quot; b=&quot;8C&quot;/&gt;&lt;m_nBrightness val=&quot;0&quot;/&gt;&lt;/elem&gt;&lt;elem m_fUsage=&quot;9.00000000000000022204E-01&quot;&gt;&lt;m_msothmcolidx val=&quot;0&quot;/&gt;&lt;m_rgb r=&quot;ED&quot; g=&quot;4E&quot; b=&quot;3A&quot;/&gt;&lt;m_nBrightness val=&quot;0&quot;/&gt;&lt;/elem&gt;&lt;elem m_fUsage=&quot;8.10000000000000053291E-01&quot;&gt;&lt;m_msothmcolidx val=&quot;0&quot;/&gt;&lt;m_rgb r=&quot;BB&quot; g=&quot;DF&quot; b=&quot;9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иний и зеленый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Segoe UI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069</TotalTime>
  <Words>481</Words>
  <Application>Microsoft Macintosh PowerPoint</Application>
  <PresentationFormat>Widescreen</PresentationFormat>
  <Paragraphs>75</Paragraphs>
  <Slides>10</Slides>
  <Notes>10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Arial Black</vt:lpstr>
      <vt:lpstr>Calibri</vt:lpstr>
      <vt:lpstr>Segoe UI</vt:lpstr>
      <vt:lpstr>Segoe UI Black</vt:lpstr>
      <vt:lpstr>Segoe UI Symbol</vt:lpstr>
      <vt:lpstr>Тема 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BER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Териков Иван Анатольевич</dc:creator>
  <cp:lastModifiedBy>Даниил Вольвич</cp:lastModifiedBy>
  <cp:revision>1808</cp:revision>
  <cp:lastPrinted>2018-05-22T08:21:36Z</cp:lastPrinted>
  <dcterms:created xsi:type="dcterms:W3CDTF">2017-06-06T08:11:16Z</dcterms:created>
  <dcterms:modified xsi:type="dcterms:W3CDTF">2024-04-06T09:31:09Z</dcterms:modified>
</cp:coreProperties>
</file>